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6" r:id="rId6"/>
    <p:sldMasterId id="2147483698" r:id="rId7"/>
  </p:sldMasterIdLst>
  <p:notesMasterIdLst>
    <p:notesMasterId r:id="rId20"/>
  </p:notesMasterIdLst>
  <p:sldIdLst>
    <p:sldId id="1343" r:id="rId8"/>
    <p:sldId id="838841338" r:id="rId9"/>
    <p:sldId id="838841336" r:id="rId10"/>
    <p:sldId id="1346" r:id="rId11"/>
    <p:sldId id="1349" r:id="rId12"/>
    <p:sldId id="1347" r:id="rId13"/>
    <p:sldId id="1344" r:id="rId14"/>
    <p:sldId id="1352" r:id="rId15"/>
    <p:sldId id="1348" r:id="rId16"/>
    <p:sldId id="838841337" r:id="rId17"/>
    <p:sldId id="838841335" r:id="rId18"/>
    <p:sldId id="1353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5DF"/>
    <a:srgbClr val="F937E2"/>
    <a:srgbClr val="F57F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6C955D-BDF1-4755-A070-8B68A217F798}" v="19" dt="2020-11-04T10:41:40.5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5" d="100"/>
          <a:sy n="55" d="100"/>
        </p:scale>
        <p:origin x="1028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9D64D6-900B-4677-AB00-59AD41A0642E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AR"/>
        </a:p>
      </dgm:t>
    </dgm:pt>
    <dgm:pt modelId="{3150713E-985B-4793-A879-260700F27B5C}">
      <dgm:prSet phldrT="[Texto]"/>
      <dgm:spPr/>
      <dgm:t>
        <a:bodyPr/>
        <a:lstStyle/>
        <a:p>
          <a:endParaRPr lang="es-AR" dirty="0"/>
        </a:p>
      </dgm:t>
    </dgm:pt>
    <dgm:pt modelId="{29948C8F-33F3-41B9-92E4-098A60ECD174}" type="parTrans" cxnId="{B14AE54F-A442-4BE8-92D5-EB4B8A7941F5}">
      <dgm:prSet/>
      <dgm:spPr/>
      <dgm:t>
        <a:bodyPr/>
        <a:lstStyle/>
        <a:p>
          <a:endParaRPr lang="es-AR"/>
        </a:p>
      </dgm:t>
    </dgm:pt>
    <dgm:pt modelId="{12CC9CE3-3603-4937-AAE9-D4412DC783AE}" type="sibTrans" cxnId="{B14AE54F-A442-4BE8-92D5-EB4B8A7941F5}">
      <dgm:prSet/>
      <dgm:spPr/>
      <dgm:t>
        <a:bodyPr/>
        <a:lstStyle/>
        <a:p>
          <a:endParaRPr lang="es-AR"/>
        </a:p>
      </dgm:t>
    </dgm:pt>
    <dgm:pt modelId="{1FCF5D8D-C162-4B57-826F-A98C2A73A87B}">
      <dgm:prSet phldrT="[Texto]"/>
      <dgm:spPr/>
      <dgm:t>
        <a:bodyPr/>
        <a:lstStyle/>
        <a:p>
          <a:endParaRPr lang="es-AR" dirty="0"/>
        </a:p>
      </dgm:t>
    </dgm:pt>
    <dgm:pt modelId="{1B0EB37C-4A2F-42C7-BFC2-6E23EB4BC72E}" type="parTrans" cxnId="{B71C87F1-192B-4CEE-B506-3754C0504362}">
      <dgm:prSet/>
      <dgm:spPr/>
      <dgm:t>
        <a:bodyPr/>
        <a:lstStyle/>
        <a:p>
          <a:endParaRPr lang="es-AR"/>
        </a:p>
      </dgm:t>
    </dgm:pt>
    <dgm:pt modelId="{E842CE68-01D1-4D5A-93E3-4AFB0D8387B1}" type="sibTrans" cxnId="{B71C87F1-192B-4CEE-B506-3754C0504362}">
      <dgm:prSet/>
      <dgm:spPr/>
      <dgm:t>
        <a:bodyPr/>
        <a:lstStyle/>
        <a:p>
          <a:endParaRPr lang="es-AR"/>
        </a:p>
      </dgm:t>
    </dgm:pt>
    <dgm:pt modelId="{C4AAE45A-375E-4B74-A870-637CE37BB88A}">
      <dgm:prSet phldrT="[Texto]"/>
      <dgm:spPr/>
      <dgm:t>
        <a:bodyPr/>
        <a:lstStyle/>
        <a:p>
          <a:endParaRPr lang="es-AR" dirty="0"/>
        </a:p>
      </dgm:t>
    </dgm:pt>
    <dgm:pt modelId="{85FDADE1-4977-42B3-9881-4F38BBE79921}" type="parTrans" cxnId="{5CCCC7B3-FCA7-417F-B956-4B8836088EF2}">
      <dgm:prSet/>
      <dgm:spPr/>
      <dgm:t>
        <a:bodyPr/>
        <a:lstStyle/>
        <a:p>
          <a:endParaRPr lang="es-AR"/>
        </a:p>
      </dgm:t>
    </dgm:pt>
    <dgm:pt modelId="{9E05318B-A4E7-45F9-9030-36705C61893E}" type="sibTrans" cxnId="{5CCCC7B3-FCA7-417F-B956-4B8836088EF2}">
      <dgm:prSet/>
      <dgm:spPr/>
      <dgm:t>
        <a:bodyPr/>
        <a:lstStyle/>
        <a:p>
          <a:endParaRPr lang="es-AR"/>
        </a:p>
      </dgm:t>
    </dgm:pt>
    <dgm:pt modelId="{34667014-7DD9-4764-80FF-184BCE86BF01}">
      <dgm:prSet phldrT="[Texto]" custT="1"/>
      <dgm:spPr/>
      <dgm:t>
        <a:bodyPr/>
        <a:lstStyle/>
        <a:p>
          <a:endParaRPr lang="es-AR" sz="2400" b="1" dirty="0">
            <a:solidFill>
              <a:schemeClr val="accent1"/>
            </a:solidFill>
          </a:endParaRPr>
        </a:p>
      </dgm:t>
    </dgm:pt>
    <dgm:pt modelId="{20A6820F-B29B-412C-B2B0-58D8754BA26E}" type="sibTrans" cxnId="{4E17ED5A-E0EF-4122-92BA-F7541AB0841A}">
      <dgm:prSet/>
      <dgm:spPr/>
      <dgm:t>
        <a:bodyPr/>
        <a:lstStyle/>
        <a:p>
          <a:endParaRPr lang="es-AR"/>
        </a:p>
      </dgm:t>
    </dgm:pt>
    <dgm:pt modelId="{4C6ECF87-AD22-4ACF-8144-A838A35E4C00}" type="parTrans" cxnId="{4E17ED5A-E0EF-4122-92BA-F7541AB0841A}">
      <dgm:prSet/>
      <dgm:spPr/>
      <dgm:t>
        <a:bodyPr/>
        <a:lstStyle/>
        <a:p>
          <a:endParaRPr lang="es-AR"/>
        </a:p>
      </dgm:t>
    </dgm:pt>
    <dgm:pt modelId="{51886291-26A7-4A4E-B160-97DB7219D8FB}" type="pres">
      <dgm:prSet presAssocID="{E19D64D6-900B-4677-AB00-59AD41A0642E}" presName="Name0" presStyleCnt="0">
        <dgm:presLayoutVars>
          <dgm:dir/>
          <dgm:resizeHandles val="exact"/>
        </dgm:presLayoutVars>
      </dgm:prSet>
      <dgm:spPr/>
    </dgm:pt>
    <dgm:pt modelId="{F06D088E-17AC-48AD-A5B0-1E99CFEB530B}" type="pres">
      <dgm:prSet presAssocID="{E19D64D6-900B-4677-AB00-59AD41A0642E}" presName="arrow" presStyleLbl="bgShp" presStyleIdx="0" presStyleCnt="1" custScaleX="97954" custScaleY="83715" custLinFactNeighborX="-1294" custLinFactNeighborY="-98963"/>
      <dgm:spPr>
        <a:solidFill>
          <a:schemeClr val="tx1">
            <a:lumMod val="10000"/>
            <a:lumOff val="90000"/>
          </a:schemeClr>
        </a:solidFill>
        <a:ln>
          <a:solidFill>
            <a:schemeClr val="accent1"/>
          </a:solidFill>
        </a:ln>
      </dgm:spPr>
    </dgm:pt>
    <dgm:pt modelId="{4EE9B9C4-EBC4-4CA2-A3EA-D8507714523B}" type="pres">
      <dgm:prSet presAssocID="{E19D64D6-900B-4677-AB00-59AD41A0642E}" presName="points" presStyleCnt="0"/>
      <dgm:spPr/>
    </dgm:pt>
    <dgm:pt modelId="{60FD7753-1DE6-4C24-8F2D-DE3FCC3FF01F}" type="pres">
      <dgm:prSet presAssocID="{34667014-7DD9-4764-80FF-184BCE86BF01}" presName="compositeA" presStyleCnt="0"/>
      <dgm:spPr/>
    </dgm:pt>
    <dgm:pt modelId="{E171E587-674D-4F72-890B-4B374F57BBBE}" type="pres">
      <dgm:prSet presAssocID="{34667014-7DD9-4764-80FF-184BCE86BF01}" presName="textA" presStyleLbl="revTx" presStyleIdx="0" presStyleCnt="4" custLinFactNeighborX="-2147" custLinFactNeighborY="-276">
        <dgm:presLayoutVars>
          <dgm:bulletEnabled val="1"/>
        </dgm:presLayoutVars>
      </dgm:prSet>
      <dgm:spPr/>
    </dgm:pt>
    <dgm:pt modelId="{3BE83908-96E3-4456-A23D-0CDABB68E72E}" type="pres">
      <dgm:prSet presAssocID="{34667014-7DD9-4764-80FF-184BCE86BF01}" presName="circleA" presStyleLbl="node1" presStyleIdx="0" presStyleCnt="4" custScaleX="127486" custScaleY="127486" custLinFactY="-132123" custLinFactNeighborX="-41238" custLinFactNeighborY="-200000"/>
      <dgm:spPr/>
    </dgm:pt>
    <dgm:pt modelId="{1AF94737-3740-4D0F-826F-8FFDA3405F2C}" type="pres">
      <dgm:prSet presAssocID="{34667014-7DD9-4764-80FF-184BCE86BF01}" presName="spaceA" presStyleCnt="0"/>
      <dgm:spPr/>
    </dgm:pt>
    <dgm:pt modelId="{55B35E8B-459D-4185-A0D2-7D77A75891B9}" type="pres">
      <dgm:prSet presAssocID="{20A6820F-B29B-412C-B2B0-58D8754BA26E}" presName="space" presStyleCnt="0"/>
      <dgm:spPr/>
    </dgm:pt>
    <dgm:pt modelId="{C4B5FA95-E49F-46D7-BEF6-4AC66B3D751E}" type="pres">
      <dgm:prSet presAssocID="{3150713E-985B-4793-A879-260700F27B5C}" presName="compositeB" presStyleCnt="0"/>
      <dgm:spPr/>
    </dgm:pt>
    <dgm:pt modelId="{A81B93EC-E73C-40EC-AACF-3A7D384F9B01}" type="pres">
      <dgm:prSet presAssocID="{3150713E-985B-4793-A879-260700F27B5C}" presName="textB" presStyleLbl="revTx" presStyleIdx="1" presStyleCnt="4">
        <dgm:presLayoutVars>
          <dgm:bulletEnabled val="1"/>
        </dgm:presLayoutVars>
      </dgm:prSet>
      <dgm:spPr/>
    </dgm:pt>
    <dgm:pt modelId="{E32C1840-163D-4842-B24E-26E5B63E59C4}" type="pres">
      <dgm:prSet presAssocID="{3150713E-985B-4793-A879-260700F27B5C}" presName="circleB" presStyleLbl="node1" presStyleIdx="1" presStyleCnt="4" custScaleX="127486" custScaleY="127486" custLinFactX="-46335" custLinFactY="-129526" custLinFactNeighborX="-100000" custLinFactNeighborY="-200000"/>
      <dgm:spPr>
        <a:solidFill>
          <a:srgbClr val="F937E2"/>
        </a:solidFill>
      </dgm:spPr>
    </dgm:pt>
    <dgm:pt modelId="{67F40C15-868E-4E9A-A313-70C586C0E167}" type="pres">
      <dgm:prSet presAssocID="{3150713E-985B-4793-A879-260700F27B5C}" presName="spaceB" presStyleCnt="0"/>
      <dgm:spPr/>
    </dgm:pt>
    <dgm:pt modelId="{650F9023-A3F3-45DC-B68F-53D8721D7522}" type="pres">
      <dgm:prSet presAssocID="{12CC9CE3-3603-4937-AAE9-D4412DC783AE}" presName="space" presStyleCnt="0"/>
      <dgm:spPr/>
    </dgm:pt>
    <dgm:pt modelId="{4C9697BA-48CC-47AC-81FB-7DAB26705EDD}" type="pres">
      <dgm:prSet presAssocID="{1FCF5D8D-C162-4B57-826F-A98C2A73A87B}" presName="compositeA" presStyleCnt="0"/>
      <dgm:spPr/>
    </dgm:pt>
    <dgm:pt modelId="{4DFA4D8A-F8E4-4405-9C6F-FDDB89100BD6}" type="pres">
      <dgm:prSet presAssocID="{1FCF5D8D-C162-4B57-826F-A98C2A73A87B}" presName="textA" presStyleLbl="revTx" presStyleIdx="2" presStyleCnt="4">
        <dgm:presLayoutVars>
          <dgm:bulletEnabled val="1"/>
        </dgm:presLayoutVars>
      </dgm:prSet>
      <dgm:spPr/>
    </dgm:pt>
    <dgm:pt modelId="{0C38B33A-FA7D-41D8-B5B8-38E2525A930A}" type="pres">
      <dgm:prSet presAssocID="{1FCF5D8D-C162-4B57-826F-A98C2A73A87B}" presName="circleA" presStyleLbl="node1" presStyleIdx="2" presStyleCnt="4" custScaleX="127486" custScaleY="127486" custLinFactX="-100000" custLinFactY="-129526" custLinFactNeighborX="-100161" custLinFactNeighborY="-200000"/>
      <dgm:spPr>
        <a:solidFill>
          <a:schemeClr val="accent6"/>
        </a:solidFill>
      </dgm:spPr>
    </dgm:pt>
    <dgm:pt modelId="{3B609465-5166-4552-A922-738B01AA8920}" type="pres">
      <dgm:prSet presAssocID="{1FCF5D8D-C162-4B57-826F-A98C2A73A87B}" presName="spaceA" presStyleCnt="0"/>
      <dgm:spPr/>
    </dgm:pt>
    <dgm:pt modelId="{567F7835-84BF-429E-8E7E-ABA582DC8465}" type="pres">
      <dgm:prSet presAssocID="{E842CE68-01D1-4D5A-93E3-4AFB0D8387B1}" presName="space" presStyleCnt="0"/>
      <dgm:spPr/>
    </dgm:pt>
    <dgm:pt modelId="{44A5758F-40AF-40BE-9DE4-838656A00C17}" type="pres">
      <dgm:prSet presAssocID="{C4AAE45A-375E-4B74-A870-637CE37BB88A}" presName="compositeB" presStyleCnt="0"/>
      <dgm:spPr/>
    </dgm:pt>
    <dgm:pt modelId="{28422699-999B-4D7F-AE0F-311F312490B4}" type="pres">
      <dgm:prSet presAssocID="{C4AAE45A-375E-4B74-A870-637CE37BB88A}" presName="textB" presStyleLbl="revTx" presStyleIdx="3" presStyleCnt="4">
        <dgm:presLayoutVars>
          <dgm:bulletEnabled val="1"/>
        </dgm:presLayoutVars>
      </dgm:prSet>
      <dgm:spPr/>
    </dgm:pt>
    <dgm:pt modelId="{10A1FFE7-0071-4154-99BE-AAC8958242F6}" type="pres">
      <dgm:prSet presAssocID="{C4AAE45A-375E-4B74-A870-637CE37BB88A}" presName="circleB" presStyleLbl="node1" presStyleIdx="3" presStyleCnt="4" custScaleX="127486" custScaleY="127486" custLinFactX="-100000" custLinFactY="-130683" custLinFactNeighborX="-168342" custLinFactNeighborY="-200000"/>
      <dgm:spPr>
        <a:solidFill>
          <a:schemeClr val="accent4">
            <a:lumMod val="60000"/>
            <a:lumOff val="40000"/>
          </a:schemeClr>
        </a:solidFill>
      </dgm:spPr>
    </dgm:pt>
    <dgm:pt modelId="{F141DD24-EFAD-404A-ADCD-5DBC7B8421A8}" type="pres">
      <dgm:prSet presAssocID="{C4AAE45A-375E-4B74-A870-637CE37BB88A}" presName="spaceB" presStyleCnt="0"/>
      <dgm:spPr/>
    </dgm:pt>
  </dgm:ptLst>
  <dgm:cxnLst>
    <dgm:cxn modelId="{8E3A2F06-6E96-47DA-AFE7-464A62357651}" type="presOf" srcId="{3150713E-985B-4793-A879-260700F27B5C}" destId="{A81B93EC-E73C-40EC-AACF-3A7D384F9B01}" srcOrd="0" destOrd="0" presId="urn:microsoft.com/office/officeart/2005/8/layout/hProcess11"/>
    <dgm:cxn modelId="{BBFECA1B-C10B-4FAF-9267-F8FD68D80183}" type="presOf" srcId="{1FCF5D8D-C162-4B57-826F-A98C2A73A87B}" destId="{4DFA4D8A-F8E4-4405-9C6F-FDDB89100BD6}" srcOrd="0" destOrd="0" presId="urn:microsoft.com/office/officeart/2005/8/layout/hProcess11"/>
    <dgm:cxn modelId="{D319265F-6A0A-4822-B791-74C577E1F463}" type="presOf" srcId="{C4AAE45A-375E-4B74-A870-637CE37BB88A}" destId="{28422699-999B-4D7F-AE0F-311F312490B4}" srcOrd="0" destOrd="0" presId="urn:microsoft.com/office/officeart/2005/8/layout/hProcess11"/>
    <dgm:cxn modelId="{B14AE54F-A442-4BE8-92D5-EB4B8A7941F5}" srcId="{E19D64D6-900B-4677-AB00-59AD41A0642E}" destId="{3150713E-985B-4793-A879-260700F27B5C}" srcOrd="1" destOrd="0" parTransId="{29948C8F-33F3-41B9-92E4-098A60ECD174}" sibTransId="{12CC9CE3-3603-4937-AAE9-D4412DC783AE}"/>
    <dgm:cxn modelId="{4E17ED5A-E0EF-4122-92BA-F7541AB0841A}" srcId="{E19D64D6-900B-4677-AB00-59AD41A0642E}" destId="{34667014-7DD9-4764-80FF-184BCE86BF01}" srcOrd="0" destOrd="0" parTransId="{4C6ECF87-AD22-4ACF-8144-A838A35E4C00}" sibTransId="{20A6820F-B29B-412C-B2B0-58D8754BA26E}"/>
    <dgm:cxn modelId="{15E318A9-14DD-4411-9BD5-3DBA68DAF0F4}" type="presOf" srcId="{34667014-7DD9-4764-80FF-184BCE86BF01}" destId="{E171E587-674D-4F72-890B-4B374F57BBBE}" srcOrd="0" destOrd="0" presId="urn:microsoft.com/office/officeart/2005/8/layout/hProcess11"/>
    <dgm:cxn modelId="{5CCCC7B3-FCA7-417F-B956-4B8836088EF2}" srcId="{E19D64D6-900B-4677-AB00-59AD41A0642E}" destId="{C4AAE45A-375E-4B74-A870-637CE37BB88A}" srcOrd="3" destOrd="0" parTransId="{85FDADE1-4977-42B3-9881-4F38BBE79921}" sibTransId="{9E05318B-A4E7-45F9-9030-36705C61893E}"/>
    <dgm:cxn modelId="{01A539CA-ECB7-499C-BFB1-52DF9835E6A1}" type="presOf" srcId="{E19D64D6-900B-4677-AB00-59AD41A0642E}" destId="{51886291-26A7-4A4E-B160-97DB7219D8FB}" srcOrd="0" destOrd="0" presId="urn:microsoft.com/office/officeart/2005/8/layout/hProcess11"/>
    <dgm:cxn modelId="{B71C87F1-192B-4CEE-B506-3754C0504362}" srcId="{E19D64D6-900B-4677-AB00-59AD41A0642E}" destId="{1FCF5D8D-C162-4B57-826F-A98C2A73A87B}" srcOrd="2" destOrd="0" parTransId="{1B0EB37C-4A2F-42C7-BFC2-6E23EB4BC72E}" sibTransId="{E842CE68-01D1-4D5A-93E3-4AFB0D8387B1}"/>
    <dgm:cxn modelId="{67B41D12-AF08-423D-B478-869E9B38BB41}" type="presParOf" srcId="{51886291-26A7-4A4E-B160-97DB7219D8FB}" destId="{F06D088E-17AC-48AD-A5B0-1E99CFEB530B}" srcOrd="0" destOrd="0" presId="urn:microsoft.com/office/officeart/2005/8/layout/hProcess11"/>
    <dgm:cxn modelId="{93FCC481-A927-4C5B-83FC-BB89C091C28A}" type="presParOf" srcId="{51886291-26A7-4A4E-B160-97DB7219D8FB}" destId="{4EE9B9C4-EBC4-4CA2-A3EA-D8507714523B}" srcOrd="1" destOrd="0" presId="urn:microsoft.com/office/officeart/2005/8/layout/hProcess11"/>
    <dgm:cxn modelId="{957392E8-3F12-43D1-A340-87011FDF9B86}" type="presParOf" srcId="{4EE9B9C4-EBC4-4CA2-A3EA-D8507714523B}" destId="{60FD7753-1DE6-4C24-8F2D-DE3FCC3FF01F}" srcOrd="0" destOrd="0" presId="urn:microsoft.com/office/officeart/2005/8/layout/hProcess11"/>
    <dgm:cxn modelId="{368F8143-9C61-48DC-AF60-EB632D36B3CE}" type="presParOf" srcId="{60FD7753-1DE6-4C24-8F2D-DE3FCC3FF01F}" destId="{E171E587-674D-4F72-890B-4B374F57BBBE}" srcOrd="0" destOrd="0" presId="urn:microsoft.com/office/officeart/2005/8/layout/hProcess11"/>
    <dgm:cxn modelId="{4501B1D5-594B-4DA5-99F3-F03F389A29DB}" type="presParOf" srcId="{60FD7753-1DE6-4C24-8F2D-DE3FCC3FF01F}" destId="{3BE83908-96E3-4456-A23D-0CDABB68E72E}" srcOrd="1" destOrd="0" presId="urn:microsoft.com/office/officeart/2005/8/layout/hProcess11"/>
    <dgm:cxn modelId="{6D025A3C-86EA-4576-8DDF-11BACAC34954}" type="presParOf" srcId="{60FD7753-1DE6-4C24-8F2D-DE3FCC3FF01F}" destId="{1AF94737-3740-4D0F-826F-8FFDA3405F2C}" srcOrd="2" destOrd="0" presId="urn:microsoft.com/office/officeart/2005/8/layout/hProcess11"/>
    <dgm:cxn modelId="{8FA8E6E4-4499-4EB3-A5E3-CC20BF1FD020}" type="presParOf" srcId="{4EE9B9C4-EBC4-4CA2-A3EA-D8507714523B}" destId="{55B35E8B-459D-4185-A0D2-7D77A75891B9}" srcOrd="1" destOrd="0" presId="urn:microsoft.com/office/officeart/2005/8/layout/hProcess11"/>
    <dgm:cxn modelId="{4A3C7BB4-D812-4021-8279-A41225B500E9}" type="presParOf" srcId="{4EE9B9C4-EBC4-4CA2-A3EA-D8507714523B}" destId="{C4B5FA95-E49F-46D7-BEF6-4AC66B3D751E}" srcOrd="2" destOrd="0" presId="urn:microsoft.com/office/officeart/2005/8/layout/hProcess11"/>
    <dgm:cxn modelId="{6ED7C66E-6570-4E15-AD8D-A81DE1867F37}" type="presParOf" srcId="{C4B5FA95-E49F-46D7-BEF6-4AC66B3D751E}" destId="{A81B93EC-E73C-40EC-AACF-3A7D384F9B01}" srcOrd="0" destOrd="0" presId="urn:microsoft.com/office/officeart/2005/8/layout/hProcess11"/>
    <dgm:cxn modelId="{30458B66-3FB4-4993-8578-0998C5DE6515}" type="presParOf" srcId="{C4B5FA95-E49F-46D7-BEF6-4AC66B3D751E}" destId="{E32C1840-163D-4842-B24E-26E5B63E59C4}" srcOrd="1" destOrd="0" presId="urn:microsoft.com/office/officeart/2005/8/layout/hProcess11"/>
    <dgm:cxn modelId="{47EE638F-E50F-493F-8C2C-EB07616B0C6C}" type="presParOf" srcId="{C4B5FA95-E49F-46D7-BEF6-4AC66B3D751E}" destId="{67F40C15-868E-4E9A-A313-70C586C0E167}" srcOrd="2" destOrd="0" presId="urn:microsoft.com/office/officeart/2005/8/layout/hProcess11"/>
    <dgm:cxn modelId="{14BD6F21-C294-45FB-913B-C39BDF5F76CC}" type="presParOf" srcId="{4EE9B9C4-EBC4-4CA2-A3EA-D8507714523B}" destId="{650F9023-A3F3-45DC-B68F-53D8721D7522}" srcOrd="3" destOrd="0" presId="urn:microsoft.com/office/officeart/2005/8/layout/hProcess11"/>
    <dgm:cxn modelId="{BBD7C6A9-8127-4A73-8781-07DFE02CEA27}" type="presParOf" srcId="{4EE9B9C4-EBC4-4CA2-A3EA-D8507714523B}" destId="{4C9697BA-48CC-47AC-81FB-7DAB26705EDD}" srcOrd="4" destOrd="0" presId="urn:microsoft.com/office/officeart/2005/8/layout/hProcess11"/>
    <dgm:cxn modelId="{A42EF6E8-0668-4E90-AF34-46A3E5A7E1B0}" type="presParOf" srcId="{4C9697BA-48CC-47AC-81FB-7DAB26705EDD}" destId="{4DFA4D8A-F8E4-4405-9C6F-FDDB89100BD6}" srcOrd="0" destOrd="0" presId="urn:microsoft.com/office/officeart/2005/8/layout/hProcess11"/>
    <dgm:cxn modelId="{1A1E074F-9CCB-4509-8DE5-8C5206AE1564}" type="presParOf" srcId="{4C9697BA-48CC-47AC-81FB-7DAB26705EDD}" destId="{0C38B33A-FA7D-41D8-B5B8-38E2525A930A}" srcOrd="1" destOrd="0" presId="urn:microsoft.com/office/officeart/2005/8/layout/hProcess11"/>
    <dgm:cxn modelId="{A9B4F4E8-6081-4F39-B947-6B04A965E03C}" type="presParOf" srcId="{4C9697BA-48CC-47AC-81FB-7DAB26705EDD}" destId="{3B609465-5166-4552-A922-738B01AA8920}" srcOrd="2" destOrd="0" presId="urn:microsoft.com/office/officeart/2005/8/layout/hProcess11"/>
    <dgm:cxn modelId="{7AF57501-6829-4EB1-8866-AAE2E6B4A39C}" type="presParOf" srcId="{4EE9B9C4-EBC4-4CA2-A3EA-D8507714523B}" destId="{567F7835-84BF-429E-8E7E-ABA582DC8465}" srcOrd="5" destOrd="0" presId="urn:microsoft.com/office/officeart/2005/8/layout/hProcess11"/>
    <dgm:cxn modelId="{567B5E9B-1832-4D63-A2C7-3ACEC7DB09C5}" type="presParOf" srcId="{4EE9B9C4-EBC4-4CA2-A3EA-D8507714523B}" destId="{44A5758F-40AF-40BE-9DE4-838656A00C17}" srcOrd="6" destOrd="0" presId="urn:microsoft.com/office/officeart/2005/8/layout/hProcess11"/>
    <dgm:cxn modelId="{0948D01C-12FE-4CEE-BA44-18B854291C74}" type="presParOf" srcId="{44A5758F-40AF-40BE-9DE4-838656A00C17}" destId="{28422699-999B-4D7F-AE0F-311F312490B4}" srcOrd="0" destOrd="0" presId="urn:microsoft.com/office/officeart/2005/8/layout/hProcess11"/>
    <dgm:cxn modelId="{67AEEB2B-BC92-4539-8094-BC6E194CADE8}" type="presParOf" srcId="{44A5758F-40AF-40BE-9DE4-838656A00C17}" destId="{10A1FFE7-0071-4154-99BE-AAC8958242F6}" srcOrd="1" destOrd="0" presId="urn:microsoft.com/office/officeart/2005/8/layout/hProcess11"/>
    <dgm:cxn modelId="{D3028B93-804D-467F-B2BE-156D57E355F9}" type="presParOf" srcId="{44A5758F-40AF-40BE-9DE4-838656A00C17}" destId="{F141DD24-EFAD-404A-ADCD-5DBC7B8421A8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86DE45A-9A35-4F83-B59C-17B42F1F750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A0B307-C117-43A8-A82F-4ACF21A759D1}">
      <dgm:prSet phldrT="[Text]" custT="1"/>
      <dgm:spPr>
        <a:xfrm>
          <a:off x="509717" y="338558"/>
          <a:ext cx="4412420" cy="677550"/>
        </a:xfrm>
        <a:prstGeom prst="rect">
          <a:avLst/>
        </a:prstGeom>
        <a:solidFill>
          <a:srgbClr val="10069F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AR" sz="16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Distribution</a:t>
          </a:r>
          <a:endParaRPr lang="en-US" sz="16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4B551427-8737-4D62-8FF8-108875062414}" type="parTrans" cxnId="{6BC9D7C2-5E17-46B6-B25D-C5E4C9B7CE7E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B34915-8D20-4528-857A-F1E1EC62CFFC}" type="sibTrans" cxnId="{6BC9D7C2-5E17-46B6-B25D-C5E4C9B7CE7E}">
      <dgm:prSet/>
      <dgm:spPr>
        <a:xfrm>
          <a:off x="-6126981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2700" cap="flat" cmpd="sng" algn="ctr">
          <a:solidFill>
            <a:srgbClr val="10069F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5AC8656-0E58-45F0-9424-3B9D4E8A4BCB}">
      <dgm:prSet phldrT="[Text]" custT="1"/>
      <dgm:spPr>
        <a:xfrm>
          <a:off x="995230" y="1354558"/>
          <a:ext cx="3926907" cy="677550"/>
        </a:xfrm>
        <a:prstGeom prst="rect">
          <a:avLst/>
        </a:prstGeom>
        <a:solidFill>
          <a:srgbClr val="10069F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AR" sz="16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Customer Service</a:t>
          </a:r>
          <a:endParaRPr lang="en-US" sz="16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234E3E93-2D06-4566-A68E-E74545BEFF37}" type="parTrans" cxnId="{D50BD83D-351C-49C2-82CE-F26BC52B3109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73273A6-F27D-455A-8E60-521BD4AEC9AB}" type="sibTrans" cxnId="{D50BD83D-351C-49C2-82CE-F26BC52B3109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1BA7F8-7578-409C-899D-62745F815880}">
      <dgm:prSet phldrT="[Text]" custT="1"/>
      <dgm:spPr>
        <a:xfrm>
          <a:off x="1144243" y="2370558"/>
          <a:ext cx="3777894" cy="677550"/>
        </a:xfrm>
        <a:prstGeom prst="rect">
          <a:avLst/>
        </a:prstGeom>
        <a:solidFill>
          <a:srgbClr val="10069F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AR" sz="16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Quality Move &amp;  ITS</a:t>
          </a:r>
          <a:endParaRPr lang="en-US" sz="16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2AA8FB03-E89A-48E7-9219-F8D06EC04F3D}" type="parTrans" cxnId="{7D13DF95-756D-48E2-A6D6-E9D91FB9FD41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1AFF38-085D-4E8D-A31F-CA1D937FEDDC}" type="sibTrans" cxnId="{7D13DF95-756D-48E2-A6D6-E9D91FB9FD41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1D83AB-E59D-4301-8702-83456EBCAC36}" type="pres">
      <dgm:prSet presAssocID="{E86DE45A-9A35-4F83-B59C-17B42F1F750C}" presName="Name0" presStyleCnt="0">
        <dgm:presLayoutVars>
          <dgm:chMax val="7"/>
          <dgm:chPref val="7"/>
          <dgm:dir/>
        </dgm:presLayoutVars>
      </dgm:prSet>
      <dgm:spPr/>
    </dgm:pt>
    <dgm:pt modelId="{82280448-D9B6-4A73-B667-3E2D7D949265}" type="pres">
      <dgm:prSet presAssocID="{E86DE45A-9A35-4F83-B59C-17B42F1F750C}" presName="Name1" presStyleCnt="0"/>
      <dgm:spPr/>
    </dgm:pt>
    <dgm:pt modelId="{2198F85C-1BE5-43CB-86E4-5076A68D4320}" type="pres">
      <dgm:prSet presAssocID="{E86DE45A-9A35-4F83-B59C-17B42F1F750C}" presName="cycle" presStyleCnt="0"/>
      <dgm:spPr/>
    </dgm:pt>
    <dgm:pt modelId="{6329B08B-A731-4FA1-8AAC-DE996D09C12B}" type="pres">
      <dgm:prSet presAssocID="{E86DE45A-9A35-4F83-B59C-17B42F1F750C}" presName="srcNode" presStyleLbl="node1" presStyleIdx="0" presStyleCnt="3"/>
      <dgm:spPr/>
    </dgm:pt>
    <dgm:pt modelId="{E7247F0A-9AE9-4958-88CF-19349929C5BC}" type="pres">
      <dgm:prSet presAssocID="{E86DE45A-9A35-4F83-B59C-17B42F1F750C}" presName="conn" presStyleLbl="parChTrans1D2" presStyleIdx="0" presStyleCnt="1"/>
      <dgm:spPr/>
    </dgm:pt>
    <dgm:pt modelId="{C5290EF4-2DA8-4EC1-BD75-D632E57C0D6B}" type="pres">
      <dgm:prSet presAssocID="{E86DE45A-9A35-4F83-B59C-17B42F1F750C}" presName="extraNode" presStyleLbl="node1" presStyleIdx="0" presStyleCnt="3"/>
      <dgm:spPr/>
    </dgm:pt>
    <dgm:pt modelId="{958C9B21-3136-4D0B-8537-436675E2F8B9}" type="pres">
      <dgm:prSet presAssocID="{E86DE45A-9A35-4F83-B59C-17B42F1F750C}" presName="dstNode" presStyleLbl="node1" presStyleIdx="0" presStyleCnt="3"/>
      <dgm:spPr/>
    </dgm:pt>
    <dgm:pt modelId="{A45CAAE5-D7B1-4173-A17C-33CC79E0B455}" type="pres">
      <dgm:prSet presAssocID="{E7A0B307-C117-43A8-A82F-4ACF21A759D1}" presName="text_1" presStyleLbl="node1" presStyleIdx="0" presStyleCnt="3">
        <dgm:presLayoutVars>
          <dgm:bulletEnabled val="1"/>
        </dgm:presLayoutVars>
      </dgm:prSet>
      <dgm:spPr/>
    </dgm:pt>
    <dgm:pt modelId="{2DD9B34C-3849-4645-959D-275D4001F7F4}" type="pres">
      <dgm:prSet presAssocID="{E7A0B307-C117-43A8-A82F-4ACF21A759D1}" presName="accent_1" presStyleCnt="0"/>
      <dgm:spPr/>
    </dgm:pt>
    <dgm:pt modelId="{2736CA83-D2D5-43E9-BD08-A13DD1B413C0}" type="pres">
      <dgm:prSet presAssocID="{E7A0B307-C117-43A8-A82F-4ACF21A759D1}" presName="accentRepeatNode" presStyleLbl="solidFgAcc1" presStyleIdx="0" presStyleCnt="3"/>
      <dgm:spPr>
        <a:xfrm>
          <a:off x="86248" y="253864"/>
          <a:ext cx="846937" cy="846937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10069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E0D96FDB-D540-440D-B647-D935BF7AA737}" type="pres">
      <dgm:prSet presAssocID="{F5AC8656-0E58-45F0-9424-3B9D4E8A4BCB}" presName="text_2" presStyleLbl="node1" presStyleIdx="1" presStyleCnt="3">
        <dgm:presLayoutVars>
          <dgm:bulletEnabled val="1"/>
        </dgm:presLayoutVars>
      </dgm:prSet>
      <dgm:spPr/>
    </dgm:pt>
    <dgm:pt modelId="{6072A5FA-53C5-42B3-8CC0-DFB07A3EA937}" type="pres">
      <dgm:prSet presAssocID="{F5AC8656-0E58-45F0-9424-3B9D4E8A4BCB}" presName="accent_2" presStyleCnt="0"/>
      <dgm:spPr/>
    </dgm:pt>
    <dgm:pt modelId="{D418B5BE-B21E-4046-A0AD-023429D3C79F}" type="pres">
      <dgm:prSet presAssocID="{F5AC8656-0E58-45F0-9424-3B9D4E8A4BCB}" presName="accentRepeatNode" presStyleLbl="solidFgAcc1" presStyleIdx="1" presStyleCnt="3"/>
      <dgm:spPr>
        <a:xfrm>
          <a:off x="571761" y="1269864"/>
          <a:ext cx="846937" cy="846937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10069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7E8F61EA-ACDF-4023-9D8E-C56B5C1562CC}" type="pres">
      <dgm:prSet presAssocID="{CE1BA7F8-7578-409C-899D-62745F815880}" presName="text_3" presStyleLbl="node1" presStyleIdx="2" presStyleCnt="3">
        <dgm:presLayoutVars>
          <dgm:bulletEnabled val="1"/>
        </dgm:presLayoutVars>
      </dgm:prSet>
      <dgm:spPr/>
    </dgm:pt>
    <dgm:pt modelId="{512042CF-7831-48E4-B86F-75B4B2DD27E3}" type="pres">
      <dgm:prSet presAssocID="{CE1BA7F8-7578-409C-899D-62745F815880}" presName="accent_3" presStyleCnt="0"/>
      <dgm:spPr/>
    </dgm:pt>
    <dgm:pt modelId="{95CA476E-0C3E-422B-8318-5865267F3ACD}" type="pres">
      <dgm:prSet presAssocID="{CE1BA7F8-7578-409C-899D-62745F815880}" presName="accentRepeatNode" presStyleLbl="solidFgAcc1" presStyleIdx="2" presStyleCnt="3"/>
      <dgm:spPr>
        <a:xfrm>
          <a:off x="720774" y="2285864"/>
          <a:ext cx="846937" cy="846937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10069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BCEEF92B-5CD2-4A40-8D33-51E8E45A7626}" type="presOf" srcId="{E7A0B307-C117-43A8-A82F-4ACF21A759D1}" destId="{A45CAAE5-D7B1-4173-A17C-33CC79E0B455}" srcOrd="0" destOrd="0" presId="urn:microsoft.com/office/officeart/2008/layout/VerticalCurvedList"/>
    <dgm:cxn modelId="{D50BD83D-351C-49C2-82CE-F26BC52B3109}" srcId="{E86DE45A-9A35-4F83-B59C-17B42F1F750C}" destId="{F5AC8656-0E58-45F0-9424-3B9D4E8A4BCB}" srcOrd="1" destOrd="0" parTransId="{234E3E93-2D06-4566-A68E-E74545BEFF37}" sibTransId="{073273A6-F27D-455A-8E60-521BD4AEC9AB}"/>
    <dgm:cxn modelId="{53217563-B051-4AB7-BCAF-0E008CE8872C}" type="presOf" srcId="{4AB34915-8D20-4528-857A-F1E1EC62CFFC}" destId="{E7247F0A-9AE9-4958-88CF-19349929C5BC}" srcOrd="0" destOrd="0" presId="urn:microsoft.com/office/officeart/2008/layout/VerticalCurvedList"/>
    <dgm:cxn modelId="{AC582056-ABC9-4087-952C-63BCC0131C9B}" type="presOf" srcId="{F5AC8656-0E58-45F0-9424-3B9D4E8A4BCB}" destId="{E0D96FDB-D540-440D-B647-D935BF7AA737}" srcOrd="0" destOrd="0" presId="urn:microsoft.com/office/officeart/2008/layout/VerticalCurvedList"/>
    <dgm:cxn modelId="{7D13DF95-756D-48E2-A6D6-E9D91FB9FD41}" srcId="{E86DE45A-9A35-4F83-B59C-17B42F1F750C}" destId="{CE1BA7F8-7578-409C-899D-62745F815880}" srcOrd="2" destOrd="0" parTransId="{2AA8FB03-E89A-48E7-9219-F8D06EC04F3D}" sibTransId="{4D1AFF38-085D-4E8D-A31F-CA1D937FEDDC}"/>
    <dgm:cxn modelId="{AFAF4D9F-3FA1-4E7E-90ED-FC98B6D8F065}" type="presOf" srcId="{E86DE45A-9A35-4F83-B59C-17B42F1F750C}" destId="{BE1D83AB-E59D-4301-8702-83456EBCAC36}" srcOrd="0" destOrd="0" presId="urn:microsoft.com/office/officeart/2008/layout/VerticalCurvedList"/>
    <dgm:cxn modelId="{15408FBC-E47A-416D-8F60-086990AFC23B}" type="presOf" srcId="{CE1BA7F8-7578-409C-899D-62745F815880}" destId="{7E8F61EA-ACDF-4023-9D8E-C56B5C1562CC}" srcOrd="0" destOrd="0" presId="urn:microsoft.com/office/officeart/2008/layout/VerticalCurvedList"/>
    <dgm:cxn modelId="{6BC9D7C2-5E17-46B6-B25D-C5E4C9B7CE7E}" srcId="{E86DE45A-9A35-4F83-B59C-17B42F1F750C}" destId="{E7A0B307-C117-43A8-A82F-4ACF21A759D1}" srcOrd="0" destOrd="0" parTransId="{4B551427-8737-4D62-8FF8-108875062414}" sibTransId="{4AB34915-8D20-4528-857A-F1E1EC62CFFC}"/>
    <dgm:cxn modelId="{351E6DE5-61BA-417E-8C1A-25DC683B8B21}" type="presParOf" srcId="{BE1D83AB-E59D-4301-8702-83456EBCAC36}" destId="{82280448-D9B6-4A73-B667-3E2D7D949265}" srcOrd="0" destOrd="0" presId="urn:microsoft.com/office/officeart/2008/layout/VerticalCurvedList"/>
    <dgm:cxn modelId="{90DCC042-51C0-47E1-A6D0-EC243014FFA4}" type="presParOf" srcId="{82280448-D9B6-4A73-B667-3E2D7D949265}" destId="{2198F85C-1BE5-43CB-86E4-5076A68D4320}" srcOrd="0" destOrd="0" presId="urn:microsoft.com/office/officeart/2008/layout/VerticalCurvedList"/>
    <dgm:cxn modelId="{90977152-455D-437F-A9F0-B8B2C3B0C9FC}" type="presParOf" srcId="{2198F85C-1BE5-43CB-86E4-5076A68D4320}" destId="{6329B08B-A731-4FA1-8AAC-DE996D09C12B}" srcOrd="0" destOrd="0" presId="urn:microsoft.com/office/officeart/2008/layout/VerticalCurvedList"/>
    <dgm:cxn modelId="{EB10314F-6ECE-4CAA-9523-034CF0597DC2}" type="presParOf" srcId="{2198F85C-1BE5-43CB-86E4-5076A68D4320}" destId="{E7247F0A-9AE9-4958-88CF-19349929C5BC}" srcOrd="1" destOrd="0" presId="urn:microsoft.com/office/officeart/2008/layout/VerticalCurvedList"/>
    <dgm:cxn modelId="{24956C8D-C323-417A-B4EF-AE62285CC751}" type="presParOf" srcId="{2198F85C-1BE5-43CB-86E4-5076A68D4320}" destId="{C5290EF4-2DA8-4EC1-BD75-D632E57C0D6B}" srcOrd="2" destOrd="0" presId="urn:microsoft.com/office/officeart/2008/layout/VerticalCurvedList"/>
    <dgm:cxn modelId="{5B5A411C-F8FA-465C-8C81-D9BB07B54AA7}" type="presParOf" srcId="{2198F85C-1BE5-43CB-86E4-5076A68D4320}" destId="{958C9B21-3136-4D0B-8537-436675E2F8B9}" srcOrd="3" destOrd="0" presId="urn:microsoft.com/office/officeart/2008/layout/VerticalCurvedList"/>
    <dgm:cxn modelId="{61F1F75B-9EC2-4805-ACC5-BBCE329F7715}" type="presParOf" srcId="{82280448-D9B6-4A73-B667-3E2D7D949265}" destId="{A45CAAE5-D7B1-4173-A17C-33CC79E0B455}" srcOrd="1" destOrd="0" presId="urn:microsoft.com/office/officeart/2008/layout/VerticalCurvedList"/>
    <dgm:cxn modelId="{B8C5B76F-CB09-4182-9587-6B721F2CF9A5}" type="presParOf" srcId="{82280448-D9B6-4A73-B667-3E2D7D949265}" destId="{2DD9B34C-3849-4645-959D-275D4001F7F4}" srcOrd="2" destOrd="0" presId="urn:microsoft.com/office/officeart/2008/layout/VerticalCurvedList"/>
    <dgm:cxn modelId="{B069D02B-E5B0-41EF-9502-D1E383512A63}" type="presParOf" srcId="{2DD9B34C-3849-4645-959D-275D4001F7F4}" destId="{2736CA83-D2D5-43E9-BD08-A13DD1B413C0}" srcOrd="0" destOrd="0" presId="urn:microsoft.com/office/officeart/2008/layout/VerticalCurvedList"/>
    <dgm:cxn modelId="{46C2309A-415B-4ECF-8846-EA3A0F6EE903}" type="presParOf" srcId="{82280448-D9B6-4A73-B667-3E2D7D949265}" destId="{E0D96FDB-D540-440D-B647-D935BF7AA737}" srcOrd="3" destOrd="0" presId="urn:microsoft.com/office/officeart/2008/layout/VerticalCurvedList"/>
    <dgm:cxn modelId="{DF246A3A-AA6F-41BF-BC6E-E8905AEB5481}" type="presParOf" srcId="{82280448-D9B6-4A73-B667-3E2D7D949265}" destId="{6072A5FA-53C5-42B3-8CC0-DFB07A3EA937}" srcOrd="4" destOrd="0" presId="urn:microsoft.com/office/officeart/2008/layout/VerticalCurvedList"/>
    <dgm:cxn modelId="{92358240-7CC4-4E05-9F21-A2EF4A878F08}" type="presParOf" srcId="{6072A5FA-53C5-42B3-8CC0-DFB07A3EA937}" destId="{D418B5BE-B21E-4046-A0AD-023429D3C79F}" srcOrd="0" destOrd="0" presId="urn:microsoft.com/office/officeart/2008/layout/VerticalCurvedList"/>
    <dgm:cxn modelId="{910E9D5A-FF46-4232-A657-D272091C83B2}" type="presParOf" srcId="{82280448-D9B6-4A73-B667-3E2D7D949265}" destId="{7E8F61EA-ACDF-4023-9D8E-C56B5C1562CC}" srcOrd="5" destOrd="0" presId="urn:microsoft.com/office/officeart/2008/layout/VerticalCurvedList"/>
    <dgm:cxn modelId="{81E3102D-0638-4A9C-8626-2C59EF1681EB}" type="presParOf" srcId="{82280448-D9B6-4A73-B667-3E2D7D949265}" destId="{512042CF-7831-48E4-B86F-75B4B2DD27E3}" srcOrd="6" destOrd="0" presId="urn:microsoft.com/office/officeart/2008/layout/VerticalCurvedList"/>
    <dgm:cxn modelId="{A8FDD2D2-AE06-4792-B7F0-B62E53E1A804}" type="presParOf" srcId="{512042CF-7831-48E4-B86F-75B4B2DD27E3}" destId="{95CA476E-0C3E-422B-8318-5865267F3ACD}" srcOrd="0" destOrd="0" presId="urn:microsoft.com/office/officeart/2008/layout/VerticalCurvedList"/>
  </dgm:cxnLst>
  <dgm:bg/>
  <dgm:whole>
    <a:ln>
      <a:extLst>
        <a:ext uri="{C807C97D-BFC1-408E-A445-0C87EB9F89A2}">
          <ask:lineSketchStyleProps xmlns:ask="http://schemas.microsoft.com/office/drawing/2018/sketchyshapes">
            <ask:type>
              <ask:lineSketchNone/>
            </ask:type>
          </ask:lineSketchStyleProps>
        </a:ext>
      </a:extLst>
    </a:ln>
  </dgm:whole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D088E-17AC-48AD-A5B0-1E99CFEB530B}">
      <dsp:nvSpPr>
        <dsp:cNvPr id="0" name=""/>
        <dsp:cNvSpPr/>
      </dsp:nvSpPr>
      <dsp:spPr>
        <a:xfrm>
          <a:off x="24677" y="0"/>
          <a:ext cx="11089480" cy="1891187"/>
        </a:xfrm>
        <a:prstGeom prst="notchedRightArrow">
          <a:avLst/>
        </a:prstGeom>
        <a:solidFill>
          <a:schemeClr val="tx1">
            <a:lumMod val="10000"/>
            <a:lumOff val="90000"/>
          </a:schemeClr>
        </a:solidFill>
        <a:ln>
          <a:solidFill>
            <a:schemeClr val="accent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171E587-674D-4F72-890B-4B374F57BBBE}">
      <dsp:nvSpPr>
        <dsp:cNvPr id="0" name=""/>
        <dsp:cNvSpPr/>
      </dsp:nvSpPr>
      <dsp:spPr>
        <a:xfrm>
          <a:off x="7797" y="0"/>
          <a:ext cx="2452722" cy="2259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b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AR" sz="2400" b="1" kern="1200" dirty="0">
            <a:solidFill>
              <a:schemeClr val="accent1"/>
            </a:solidFill>
          </a:endParaRPr>
        </a:p>
      </dsp:txBody>
      <dsp:txXfrm>
        <a:off x="7797" y="0"/>
        <a:ext cx="2452722" cy="2259078"/>
      </dsp:txXfrm>
    </dsp:sp>
    <dsp:sp modelId="{3BE83908-96E3-4456-A23D-0CDABB68E72E}">
      <dsp:nvSpPr>
        <dsp:cNvPr id="0" name=""/>
        <dsp:cNvSpPr/>
      </dsp:nvSpPr>
      <dsp:spPr>
        <a:xfrm>
          <a:off x="693917" y="588117"/>
          <a:ext cx="720002" cy="72000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1B93EC-E73C-40EC-AACF-3A7D384F9B01}">
      <dsp:nvSpPr>
        <dsp:cNvPr id="0" name=""/>
        <dsp:cNvSpPr/>
      </dsp:nvSpPr>
      <dsp:spPr>
        <a:xfrm>
          <a:off x="2635816" y="3388617"/>
          <a:ext cx="2452722" cy="2259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62280" tIns="462280" rIns="462280" bIns="462280" numCol="1" spcCol="1270" anchor="t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AR" sz="6500" kern="1200" dirty="0"/>
        </a:p>
      </dsp:txBody>
      <dsp:txXfrm>
        <a:off x="2635816" y="3388617"/>
        <a:ext cx="2452722" cy="2259078"/>
      </dsp:txXfrm>
    </dsp:sp>
    <dsp:sp modelId="{E32C1840-163D-4842-B24E-26E5B63E59C4}">
      <dsp:nvSpPr>
        <dsp:cNvPr id="0" name=""/>
        <dsp:cNvSpPr/>
      </dsp:nvSpPr>
      <dsp:spPr>
        <a:xfrm>
          <a:off x="2675721" y="602784"/>
          <a:ext cx="720002" cy="720002"/>
        </a:xfrm>
        <a:prstGeom prst="ellipse">
          <a:avLst/>
        </a:prstGeom>
        <a:solidFill>
          <a:srgbClr val="F937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FA4D8A-F8E4-4405-9C6F-FDDB89100BD6}">
      <dsp:nvSpPr>
        <dsp:cNvPr id="0" name=""/>
        <dsp:cNvSpPr/>
      </dsp:nvSpPr>
      <dsp:spPr>
        <a:xfrm>
          <a:off x="5211175" y="0"/>
          <a:ext cx="2452722" cy="2259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62280" tIns="462280" rIns="462280" bIns="462280" numCol="1" spcCol="1270" anchor="b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AR" sz="6500" kern="1200" dirty="0"/>
        </a:p>
      </dsp:txBody>
      <dsp:txXfrm>
        <a:off x="5211175" y="0"/>
        <a:ext cx="2452722" cy="2259078"/>
      </dsp:txXfrm>
    </dsp:sp>
    <dsp:sp modelId="{0C38B33A-FA7D-41D8-B5B8-38E2525A930A}">
      <dsp:nvSpPr>
        <dsp:cNvPr id="0" name=""/>
        <dsp:cNvSpPr/>
      </dsp:nvSpPr>
      <dsp:spPr>
        <a:xfrm>
          <a:off x="4947087" y="602784"/>
          <a:ext cx="720002" cy="720002"/>
        </a:xfrm>
        <a:prstGeom prst="ellipse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422699-999B-4D7F-AE0F-311F312490B4}">
      <dsp:nvSpPr>
        <dsp:cNvPr id="0" name=""/>
        <dsp:cNvSpPr/>
      </dsp:nvSpPr>
      <dsp:spPr>
        <a:xfrm>
          <a:off x="7786534" y="3388617"/>
          <a:ext cx="2452722" cy="22590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62280" tIns="462280" rIns="462280" bIns="462280" numCol="1" spcCol="1270" anchor="t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AR" sz="6500" kern="1200" dirty="0"/>
        </a:p>
      </dsp:txBody>
      <dsp:txXfrm>
        <a:off x="7786534" y="3388617"/>
        <a:ext cx="2452722" cy="2259078"/>
      </dsp:txXfrm>
    </dsp:sp>
    <dsp:sp modelId="{10A1FFE7-0071-4154-99BE-AAC8958242F6}">
      <dsp:nvSpPr>
        <dsp:cNvPr id="0" name=""/>
        <dsp:cNvSpPr/>
      </dsp:nvSpPr>
      <dsp:spPr>
        <a:xfrm>
          <a:off x="7137381" y="596249"/>
          <a:ext cx="720002" cy="720002"/>
        </a:xfrm>
        <a:prstGeom prst="ellipse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247F0A-9AE9-4958-88CF-19349929C5BC}">
      <dsp:nvSpPr>
        <dsp:cNvPr id="0" name=""/>
        <dsp:cNvSpPr/>
      </dsp:nvSpPr>
      <dsp:spPr>
        <a:xfrm>
          <a:off x="-4006568" y="-615051"/>
          <a:ext cx="4774590" cy="4774590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2700" cap="flat" cmpd="sng" algn="ctr">
          <a:solidFill>
            <a:srgbClr val="10069F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5CAAE5-D7B1-4173-A17C-33CC79E0B455}">
      <dsp:nvSpPr>
        <dsp:cNvPr id="0" name=""/>
        <dsp:cNvSpPr/>
      </dsp:nvSpPr>
      <dsp:spPr>
        <a:xfrm>
          <a:off x="493907" y="354448"/>
          <a:ext cx="2396946" cy="708897"/>
        </a:xfrm>
        <a:prstGeom prst="rect">
          <a:avLst/>
        </a:prstGeom>
        <a:solidFill>
          <a:srgbClr val="10069F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2687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16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Distribution</a:t>
          </a:r>
          <a:endParaRPr lang="en-US" sz="16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93907" y="354448"/>
        <a:ext cx="2396946" cy="708897"/>
      </dsp:txXfrm>
    </dsp:sp>
    <dsp:sp modelId="{2736CA83-D2D5-43E9-BD08-A13DD1B413C0}">
      <dsp:nvSpPr>
        <dsp:cNvPr id="0" name=""/>
        <dsp:cNvSpPr/>
      </dsp:nvSpPr>
      <dsp:spPr>
        <a:xfrm>
          <a:off x="50846" y="265836"/>
          <a:ext cx="886121" cy="886121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10069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D96FDB-D540-440D-B647-D935BF7AA737}">
      <dsp:nvSpPr>
        <dsp:cNvPr id="0" name=""/>
        <dsp:cNvSpPr/>
      </dsp:nvSpPr>
      <dsp:spPr>
        <a:xfrm>
          <a:off x="751591" y="1417794"/>
          <a:ext cx="2139262" cy="708897"/>
        </a:xfrm>
        <a:prstGeom prst="rect">
          <a:avLst/>
        </a:prstGeom>
        <a:solidFill>
          <a:srgbClr val="10069F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2687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16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Customer Service</a:t>
          </a:r>
          <a:endParaRPr lang="en-US" sz="16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751591" y="1417794"/>
        <a:ext cx="2139262" cy="708897"/>
      </dsp:txXfrm>
    </dsp:sp>
    <dsp:sp modelId="{D418B5BE-B21E-4046-A0AD-023429D3C79F}">
      <dsp:nvSpPr>
        <dsp:cNvPr id="0" name=""/>
        <dsp:cNvSpPr/>
      </dsp:nvSpPr>
      <dsp:spPr>
        <a:xfrm>
          <a:off x="308530" y="1329182"/>
          <a:ext cx="886121" cy="886121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10069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8F61EA-ACDF-4023-9D8E-C56B5C1562CC}">
      <dsp:nvSpPr>
        <dsp:cNvPr id="0" name=""/>
        <dsp:cNvSpPr/>
      </dsp:nvSpPr>
      <dsp:spPr>
        <a:xfrm>
          <a:off x="493907" y="2481140"/>
          <a:ext cx="2396946" cy="708897"/>
        </a:xfrm>
        <a:prstGeom prst="rect">
          <a:avLst/>
        </a:prstGeom>
        <a:solidFill>
          <a:srgbClr val="10069F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2687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AR" sz="16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Quality Move &amp;  ITS</a:t>
          </a:r>
          <a:endParaRPr lang="en-US" sz="16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93907" y="2481140"/>
        <a:ext cx="2396946" cy="708897"/>
      </dsp:txXfrm>
    </dsp:sp>
    <dsp:sp modelId="{95CA476E-0C3E-422B-8318-5865267F3ACD}">
      <dsp:nvSpPr>
        <dsp:cNvPr id="0" name=""/>
        <dsp:cNvSpPr/>
      </dsp:nvSpPr>
      <dsp:spPr>
        <a:xfrm>
          <a:off x="50846" y="2392528"/>
          <a:ext cx="886121" cy="886121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10069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DC0781-E8E5-4B99-BB4F-E4EF4933953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5A9E0C-67CB-460D-967E-17D1118369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798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880FD3-CD2A-8C4E-B84F-94E080745D4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528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446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0408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60295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527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69854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90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880FD3-CD2A-8C4E-B84F-94E080745D4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852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C19AC2-94A0-46E3-BDDE-FB1B5E35C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54DE4E6-20D3-4295-81E0-8EB0295AA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06D592-A0A4-42A3-A1FC-4C3D2E05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8E7FE2F-51F5-427B-A63C-EE232B78A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5A9700-4BCB-4624-A7DD-5340E8467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02211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4FEB1D-AF7B-4738-9FAE-E6E15453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82FFB72-4BF0-4424-8677-3CCAE1B5C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AABC09-20F9-4E4A-B6A7-49A5E5EE1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48EB4EB-80CB-4773-AF7C-D771B53E9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0C98CC-44AD-4861-8161-D9752A7DA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82210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8623B0A-240B-42D1-BE58-2EFC3F09D6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06B46B1-3B1A-4089-A405-CB0129410B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9E2932-7017-4895-A2AB-FAC206197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21E60E-BB72-4308-930E-69D146B8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5AC209D-56CB-47EE-9D0E-066E8BECC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87303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82177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24689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440358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711093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798654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748010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504183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1478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B7CE68-09DA-4698-93FA-36B98981A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43AD844-4E14-4D58-8B77-DF6AE0ECB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17DE40B-BF37-4EF0-8AC4-9D2C0743F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28C21E-3F6F-4B83-8F2B-2ADA1FE8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1F976D-E004-44EA-A02A-39D0ABBA4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013991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860578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58475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786439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5463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73828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6818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5377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2214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084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7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981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131A98-39B0-4A70-8E34-54F615A58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C419B8-0450-485D-B747-31FD5EE3A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7B0039E-3177-4AEA-8556-C6B5A0F7E4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E3EBC1-933D-4B0F-8BD7-A78267B0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E50517-3C99-45F5-A58C-5081457F9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679296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152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9415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018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5955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373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0948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C19AC2-94A0-46E3-BDDE-FB1B5E35C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54DE4E6-20D3-4295-81E0-8EB0295AA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06D592-A0A4-42A3-A1FC-4C3D2E05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8E7FE2F-51F5-427B-A63C-EE232B78A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5A9700-4BCB-4624-A7DD-5340E8467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1529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B7CE68-09DA-4698-93FA-36B98981A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43AD844-4E14-4D58-8B77-DF6AE0ECB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17DE40B-BF37-4EF0-8AC4-9D2C0743F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28C21E-3F6F-4B83-8F2B-2ADA1FE8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1F976D-E004-44EA-A02A-39D0ABBA4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90310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131A98-39B0-4A70-8E34-54F615A58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C419B8-0450-485D-B747-31FD5EE3A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7B0039E-3177-4AEA-8556-C6B5A0F7E4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E3EBC1-933D-4B0F-8BD7-A78267B0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E50517-3C99-45F5-A58C-5081457F9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33938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6DD583-A87A-4C11-A465-FB470AA7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EBFB355-0CC9-4669-86F8-446EE0A44D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A4C5696-EE2B-466F-AD1E-20BF4DDE53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082DEAB-753E-4B96-857B-A5F52822E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7540C8-2765-4E2B-A2FC-FA4238BCA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BDA55DA-2D5E-49DD-BE9E-83616672D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27040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6DD583-A87A-4C11-A465-FB470AA7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EBFB355-0CC9-4669-86F8-446EE0A44D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A4C5696-EE2B-466F-AD1E-20BF4DDE53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082DEAB-753E-4B96-857B-A5F52822E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7540C8-2765-4E2B-A2FC-FA4238BCA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BDA55DA-2D5E-49DD-BE9E-83616672D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44066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4CE06F-722D-4DE3-BF23-A16E218F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4ABD602-7887-49E2-B420-88E4F2298D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5BC9D9-19D2-45BE-BF59-4A1B37D64A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E0EA0A7-5751-42C4-99BA-F3C025A7FD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B008C95-8CE6-4472-997E-8DFF9B842A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252E926-4B7A-40D2-B760-06C074AF1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B07A2F7-BA06-4221-9350-AF735F331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05DD545-1630-4D47-A47D-546735CAE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437720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F33D10-5C45-47F5-AAFF-ACA2A102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1758764-E2BB-4082-9A9F-C6A6AF200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0DACB40-79B6-4D18-92E9-2F80630D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7E9EF8A-373C-4B77-8AA9-D0C868380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237530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8A98F7F-DE9D-4022-A2BB-2146A0A3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A2D3D89-C828-4EF5-B7D2-B7670B0CF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77264F7-6FAC-4EC6-B131-026BF2E8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177973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C22E03-2F48-4C91-B919-848F1003B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8228C-7D1C-4B68-A1A4-4E9531317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C19DA7-5239-4461-B253-6749C3D42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8A06EF9-368B-4EF4-9A12-8147E4E1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1485D1F-932E-4163-90E9-421A7C29D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18BF014-CC75-4DEE-AA9F-706CC1DB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970956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936C34-DCE4-446D-A105-EF182B795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30FB3AD-83F2-494E-87EF-47F3877930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98D57D9-D114-442A-A83F-B517DD1780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FD0395-EDF2-4FE7-BA68-1F699E7C6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CCB6F54-39C9-447E-9D5F-F077AAE36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4D455A4-3B10-4877-AFA3-503E06480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611847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4FEB1D-AF7B-4738-9FAE-E6E15453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82FFB72-4BF0-4424-8677-3CCAE1B5C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AABC09-20F9-4E4A-B6A7-49A5E5EE1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48EB4EB-80CB-4773-AF7C-D771B53E9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0C98CC-44AD-4861-8161-D9752A7DA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92237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8623B0A-240B-42D1-BE58-2EFC3F09D6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06B46B1-3B1A-4089-A405-CB0129410B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9E2932-7017-4895-A2AB-FAC206197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21E60E-BB72-4308-930E-69D146B8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5AC209D-56CB-47EE-9D0E-066E8BECC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57484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4CE06F-722D-4DE3-BF23-A16E218F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4ABD602-7887-49E2-B420-88E4F2298D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5BC9D9-19D2-45BE-BF59-4A1B37D64A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E0EA0A7-5751-42C4-99BA-F3C025A7FD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B008C95-8CE6-4472-997E-8DFF9B842A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252E926-4B7A-40D2-B760-06C074AF1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B07A2F7-BA06-4221-9350-AF735F331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05DD545-1630-4D47-A47D-546735CAE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77759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F33D10-5C45-47F5-AAFF-ACA2A102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1758764-E2BB-4082-9A9F-C6A6AF200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0DACB40-79B6-4D18-92E9-2F80630D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7E9EF8A-373C-4B77-8AA9-D0C868380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035148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8A98F7F-DE9D-4022-A2BB-2146A0A3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A2D3D89-C828-4EF5-B7D2-B7670B0CF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77264F7-6FAC-4EC6-B131-026BF2E8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142232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C22E03-2F48-4C91-B919-848F1003B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8228C-7D1C-4B68-A1A4-4E9531317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C19DA7-5239-4461-B253-6749C3D42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8A06EF9-368B-4EF4-9A12-8147E4E1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1485D1F-932E-4163-90E9-421A7C29D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18BF014-CC75-4DEE-AA9F-706CC1DB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019504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936C34-DCE4-446D-A105-EF182B795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30FB3AD-83F2-494E-87EF-47F3877930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98D57D9-D114-442A-A83F-B517DD1780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FD0395-EDF2-4FE7-BA68-1F699E7C6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CCB6F54-39C9-447E-9D5F-F077AAE36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4D455A4-3B10-4877-AFA3-503E06480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90930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microsoft.com/office/2007/relationships/hdphoto" Target="../media/hdphoto1.wdp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vmlDrawing" Target="../drawings/vmlDrawing5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8.xml"/><Relationship Id="rId21" Type="http://schemas.microsoft.com/office/2007/relationships/hdphoto" Target="../media/hdphoto1.wdp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9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92E144-DA1A-4D36-B236-F727F085E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70179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92E144-DA1A-4D36-B236-F727F085E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8892AA-B66E-476D-96A1-B4D7B54392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DC5B52-2491-43CB-A5AD-5BDA7D63CA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83ECB1-B70A-4EAA-9B33-8797B2BC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27E491F-1F75-4371-8BBB-0493FB4BD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  <p:sp>
        <p:nvSpPr>
          <p:cNvPr id="7" name="Espaço Reservado para Título 1">
            <a:extLst>
              <a:ext uri="{FF2B5EF4-FFF2-40B4-BE49-F238E27FC236}">
                <a16:creationId xmlns:a16="http://schemas.microsoft.com/office/drawing/2014/main" id="{FC867436-2095-4BD7-9401-1EC96E671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34D6BC4-3F5A-40B2-A333-ADD8D93CF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7EBFEE1-DF9C-4315-A0DB-97F1E0EF62B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93132" y="13667"/>
            <a:ext cx="3431259" cy="107532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2A93D9E-4AF0-4F01-95EB-5055FAF12DFC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1588700" y="5663084"/>
            <a:ext cx="1546299" cy="960856"/>
            <a:chOff x="2510307" y="2891970"/>
            <a:chExt cx="5297533" cy="3291840"/>
          </a:xfrm>
        </p:grpSpPr>
        <p:sp>
          <p:nvSpPr>
            <p:cNvPr id="12" name="Oval 11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2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Oval 13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5" name="Picture 2" descr="Imagen relacionada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 userDrawn="1"/>
        </p:nvSpPr>
        <p:spPr>
          <a:xfrm>
            <a:off x="3059026" y="55728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140502" y="61683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263" y="56356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O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s-AR" sz="2400" dirty="0">
                <a:solidFill>
                  <a:schemeClr val="bg1"/>
                </a:solidFill>
              </a:rPr>
              <a:t>Logistics 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04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dirty="0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#›</a:t>
            </a:fld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472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0F811D-B648-4D60-AE7B-0D5C7118951E}" type="datetimeFigureOut">
              <a:rPr lang="en-US" smtClean="0"/>
              <a:t>11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C0E062-BD8E-4344-9BC0-FC8A9987D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93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92E144-DA1A-4D36-B236-F727F085E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3514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92E144-DA1A-4D36-B236-F727F085E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8892AA-B66E-476D-96A1-B4D7B54392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DC5B52-2491-43CB-A5AD-5BDA7D63CA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C6177-DAD1-41F1-A77D-80013BB6A192}" type="datetimeFigureOut">
              <a:rPr lang="pt-BR" smtClean="0"/>
              <a:t>09/11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83ECB1-B70A-4EAA-9B33-8797B2BC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27E491F-1F75-4371-8BBB-0493FB4BD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71117-1466-436E-80A0-1F4FA1B08D9D}" type="slidenum">
              <a:rPr lang="pt-BR" smtClean="0"/>
              <a:t>‹#›</a:t>
            </a:fld>
            <a:endParaRPr lang="pt-BR" dirty="0"/>
          </a:p>
        </p:txBody>
      </p:sp>
      <p:sp>
        <p:nvSpPr>
          <p:cNvPr id="7" name="Espaço Reservado para Título 1">
            <a:extLst>
              <a:ext uri="{FF2B5EF4-FFF2-40B4-BE49-F238E27FC236}">
                <a16:creationId xmlns:a16="http://schemas.microsoft.com/office/drawing/2014/main" id="{FC867436-2095-4BD7-9401-1EC96E671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34D6BC4-3F5A-40B2-A333-ADD8D93CF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7EBFEE1-DF9C-4315-A0DB-97F1E0EF62B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93132" y="13667"/>
            <a:ext cx="3431259" cy="107532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2A93D9E-4AF0-4F01-95EB-5055FAF12DFC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1588700" y="5663084"/>
            <a:ext cx="1546299" cy="960856"/>
            <a:chOff x="2510307" y="2891970"/>
            <a:chExt cx="5297533" cy="3291840"/>
          </a:xfrm>
        </p:grpSpPr>
        <p:sp>
          <p:nvSpPr>
            <p:cNvPr id="12" name="Oval 11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2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Oval 13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5" name="Picture 2" descr="Imagen relacionada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 userDrawn="1"/>
        </p:nvSpPr>
        <p:spPr>
          <a:xfrm>
            <a:off x="3059026" y="55728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140502" y="61683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263" y="56356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O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s-AR" sz="2400" dirty="0">
                <a:solidFill>
                  <a:schemeClr val="bg1"/>
                </a:solidFill>
              </a:rPr>
              <a:t>Logistics 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675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41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40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20.sv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1.xml"/><Relationship Id="rId18" Type="http://schemas.openxmlformats.org/officeDocument/2006/relationships/image" Target="../media/image25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12" Type="http://schemas.openxmlformats.org/officeDocument/2006/relationships/diagramColors" Target="../diagrams/colors1.xml"/><Relationship Id="rId17" Type="http://schemas.openxmlformats.org/officeDocument/2006/relationships/image" Target="../media/image24.png"/><Relationship Id="rId2" Type="http://schemas.openxmlformats.org/officeDocument/2006/relationships/tags" Target="../tags/tag13.xml"/><Relationship Id="rId16" Type="http://schemas.openxmlformats.org/officeDocument/2006/relationships/image" Target="../media/image23.png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11" Type="http://schemas.openxmlformats.org/officeDocument/2006/relationships/diagramQuickStyle" Target="../diagrams/quickStyle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22.png"/><Relationship Id="rId10" Type="http://schemas.openxmlformats.org/officeDocument/2006/relationships/diagramLayout" Target="../diagrams/layout1.xml"/><Relationship Id="rId4" Type="http://schemas.openxmlformats.org/officeDocument/2006/relationships/slideLayout" Target="../slideLayouts/slideLayout30.xml"/><Relationship Id="rId9" Type="http://schemas.openxmlformats.org/officeDocument/2006/relationships/diagramData" Target="../diagrams/data1.xml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26" Type="http://schemas.openxmlformats.org/officeDocument/2006/relationships/image" Target="../media/image38.svg"/><Relationship Id="rId3" Type="http://schemas.openxmlformats.org/officeDocument/2006/relationships/tags" Target="../tags/tag16.xml"/><Relationship Id="rId21" Type="http://schemas.openxmlformats.org/officeDocument/2006/relationships/diagramLayout" Target="../diagrams/layout2.xml"/><Relationship Id="rId7" Type="http://schemas.openxmlformats.org/officeDocument/2006/relationships/image" Target="../media/image1.emf"/><Relationship Id="rId12" Type="http://schemas.openxmlformats.org/officeDocument/2006/relationships/image" Target="../media/image29.svg"/><Relationship Id="rId17" Type="http://schemas.openxmlformats.org/officeDocument/2006/relationships/image" Target="../media/image34.svg"/><Relationship Id="rId25" Type="http://schemas.openxmlformats.org/officeDocument/2006/relationships/image" Target="../media/image37.png"/><Relationship Id="rId2" Type="http://schemas.openxmlformats.org/officeDocument/2006/relationships/tags" Target="../tags/tag15.xml"/><Relationship Id="rId16" Type="http://schemas.openxmlformats.org/officeDocument/2006/relationships/image" Target="../media/image33.png"/><Relationship Id="rId20" Type="http://schemas.openxmlformats.org/officeDocument/2006/relationships/diagramData" Target="../diagrams/data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28.png"/><Relationship Id="rId24" Type="http://schemas.microsoft.com/office/2007/relationships/diagramDrawing" Target="../diagrams/drawing2.xml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32.png"/><Relationship Id="rId23" Type="http://schemas.openxmlformats.org/officeDocument/2006/relationships/diagramColors" Target="../diagrams/colors2.xml"/><Relationship Id="rId10" Type="http://schemas.openxmlformats.org/officeDocument/2006/relationships/image" Target="../media/image27.gif"/><Relationship Id="rId19" Type="http://schemas.openxmlformats.org/officeDocument/2006/relationships/image" Target="../media/image36.sv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8.png"/><Relationship Id="rId14" Type="http://schemas.openxmlformats.org/officeDocument/2006/relationships/image" Target="../media/image31.svg"/><Relationship Id="rId22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9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12" Type="http://schemas.openxmlformats.org/officeDocument/2006/relationships/image" Target="../media/image36.sv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35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D1999804-DAE1-4EA4-954D-13948786EF01}"/>
              </a:ext>
            </a:extLst>
          </p:cNvPr>
          <p:cNvSpPr txBox="1">
            <a:spLocks/>
          </p:cNvSpPr>
          <p:nvPr/>
        </p:nvSpPr>
        <p:spPr>
          <a:xfrm>
            <a:off x="248576" y="1754762"/>
            <a:ext cx="6964921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B727CFFD-FBB7-4F08-85FF-BBEFDEE695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576" y="4259320"/>
            <a:ext cx="5271655" cy="1655762"/>
          </a:xfrm>
        </p:spPr>
        <p:txBody>
          <a:bodyPr/>
          <a:lstStyle/>
          <a:p>
            <a:pPr algn="l"/>
            <a:endParaRPr lang="pt-BR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C148A5-D9B7-4837-8608-BD78EB9ED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418744"/>
            <a:ext cx="5520231" cy="13800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00A478-390F-418D-9DC5-FB958CAB73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6491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id="{9CF26F31-1CA9-4CDD-B2E5-F7B044AEBA70}"/>
              </a:ext>
            </a:extLst>
          </p:cNvPr>
          <p:cNvSpPr txBox="1">
            <a:spLocks/>
          </p:cNvSpPr>
          <p:nvPr/>
        </p:nvSpPr>
        <p:spPr>
          <a:xfrm>
            <a:off x="420952" y="619441"/>
            <a:ext cx="7645362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Woman Mentoring Woman</a:t>
            </a:r>
          </a:p>
        </p:txBody>
      </p:sp>
      <p:sp>
        <p:nvSpPr>
          <p:cNvPr id="9" name="Subtítulo 2">
            <a:extLst>
              <a:ext uri="{FF2B5EF4-FFF2-40B4-BE49-F238E27FC236}">
                <a16:creationId xmlns:a16="http://schemas.microsoft.com/office/drawing/2014/main" id="{0BDB7826-63CB-48B6-A8C5-23E8BF3BE37E}"/>
              </a:ext>
            </a:extLst>
          </p:cNvPr>
          <p:cNvSpPr txBox="1">
            <a:spLocks/>
          </p:cNvSpPr>
          <p:nvPr/>
        </p:nvSpPr>
        <p:spPr>
          <a:xfrm>
            <a:off x="2760115" y="2960987"/>
            <a:ext cx="5271655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AR" dirty="0"/>
              <a:t>Octubre </a:t>
            </a:r>
            <a:r>
              <a:rPr lang="pt-BR" dirty="0"/>
              <a:t>2020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59BCB6C-9B3F-4C6E-A7A5-8CDFE7344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2989" y="1154687"/>
            <a:ext cx="1695450" cy="120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/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FF008A"/>
              </a:gs>
              <a:gs pos="100000">
                <a:srgbClr val="EB1B2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9A8B07-521D-433D-8EB2-36325632E4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297" y="116493"/>
            <a:ext cx="1146634" cy="449467"/>
          </a:xfrm>
          <a:prstGeom prst="rect">
            <a:avLst/>
          </a:prstGeom>
        </p:spPr>
      </p:pic>
      <p:sp>
        <p:nvSpPr>
          <p:cNvPr id="18" name="CuadroTexto 17"/>
          <p:cNvSpPr txBox="1"/>
          <p:nvPr/>
        </p:nvSpPr>
        <p:spPr>
          <a:xfrm>
            <a:off x="986198" y="2484126"/>
            <a:ext cx="10025853" cy="1889748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768041"/>
            <a:r>
              <a:rPr lang="es-AR" sz="8800" b="1" dirty="0">
                <a:solidFill>
                  <a:schemeClr val="bg1"/>
                </a:solidFill>
                <a:latin typeface="Gilroy Light" panose="00000400000000000000" pitchFamily="50" charset="0"/>
              </a:rPr>
              <a:t>Sesión 2</a:t>
            </a:r>
          </a:p>
          <a:p>
            <a:pPr lvl="0" defTabSz="768041"/>
            <a:endParaRPr lang="es-AR" sz="1440" b="1" dirty="0">
              <a:solidFill>
                <a:srgbClr val="FF008A"/>
              </a:solidFill>
              <a:latin typeface="Gilroy Light" panose="00000400000000000000" pitchFamily="50" charset="0"/>
            </a:endParaRPr>
          </a:p>
          <a:p>
            <a:pPr lvl="0" defTabSz="768041"/>
            <a:endParaRPr lang="es-AR" sz="1440" b="1" dirty="0">
              <a:solidFill>
                <a:srgbClr val="FF008A"/>
              </a:solidFill>
              <a:latin typeface="Gilroy Light" panose="00000400000000000000" pitchFamily="50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190C5C53-DFB2-43CE-B4BB-F02E09743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1667" y="6505227"/>
            <a:ext cx="1524243" cy="19439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276968-DD07-4FB7-9F39-BDF613D69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8029" y="6080123"/>
            <a:ext cx="2916550" cy="614800"/>
          </a:xfrm>
          <a:prstGeom prst="rect">
            <a:avLst/>
          </a:prstGeom>
        </p:spPr>
      </p:pic>
      <p:sp>
        <p:nvSpPr>
          <p:cNvPr id="28" name="Title 7">
            <a:extLst>
              <a:ext uri="{FF2B5EF4-FFF2-40B4-BE49-F238E27FC236}">
                <a16:creationId xmlns:a16="http://schemas.microsoft.com/office/drawing/2014/main" id="{536DAF30-0F69-4DE2-A150-951E6DD52B3A}"/>
              </a:ext>
            </a:extLst>
          </p:cNvPr>
          <p:cNvSpPr txBox="1">
            <a:spLocks/>
          </p:cNvSpPr>
          <p:nvPr/>
        </p:nvSpPr>
        <p:spPr>
          <a:xfrm>
            <a:off x="118256" y="1889500"/>
            <a:ext cx="3769606" cy="274373"/>
          </a:xfrm>
          <a:prstGeom prst="rect">
            <a:avLst/>
          </a:prstGeom>
        </p:spPr>
        <p:txBody>
          <a:bodyPr vert="horz" lIns="54864" tIns="27432" rIns="54864" bIns="2743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5486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rgbClr val="FF008A"/>
                </a:solidFill>
                <a:latin typeface="Gilroy ExtraBold" panose="00000900000000000000" pitchFamily="50" charset="0"/>
                <a:ea typeface="+mn-ea"/>
                <a:cs typeface="+mn-cs"/>
              </a:rPr>
              <a:t>AGENDA</a:t>
            </a:r>
          </a:p>
        </p:txBody>
      </p:sp>
      <p:sp>
        <p:nvSpPr>
          <p:cNvPr id="40" name="CuadroTexto 44">
            <a:extLst>
              <a:ext uri="{FF2B5EF4-FFF2-40B4-BE49-F238E27FC236}">
                <a16:creationId xmlns:a16="http://schemas.microsoft.com/office/drawing/2014/main" id="{9CCA81D7-A125-4432-A192-14945BB8F382}"/>
              </a:ext>
            </a:extLst>
          </p:cNvPr>
          <p:cNvSpPr txBox="1"/>
          <p:nvPr/>
        </p:nvSpPr>
        <p:spPr>
          <a:xfrm>
            <a:off x="2148963" y="6507298"/>
            <a:ext cx="2335879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92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-Medium" panose="00000600000000000000" pitchFamily="2" charset="0"/>
                <a:ea typeface="+mn-ea"/>
                <a:cs typeface="+mn-cs"/>
              </a:rPr>
              <a:t>#SheCanInspir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755930A-4408-4355-A787-E810DE11E3E9}"/>
              </a:ext>
            </a:extLst>
          </p:cNvPr>
          <p:cNvSpPr/>
          <p:nvPr/>
        </p:nvSpPr>
        <p:spPr>
          <a:xfrm>
            <a:off x="8931484" y="6199535"/>
            <a:ext cx="1531510" cy="325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5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-Medium" panose="00000600000000000000" pitchFamily="2" charset="0"/>
                <a:ea typeface="+mn-ea"/>
                <a:cs typeface="+mn-cs"/>
              </a:rPr>
              <a:t>#WeAreInclusive</a:t>
            </a:r>
          </a:p>
        </p:txBody>
      </p:sp>
      <p:pic>
        <p:nvPicPr>
          <p:cNvPr id="43" name="Imagen 17">
            <a:extLst>
              <a:ext uri="{FF2B5EF4-FFF2-40B4-BE49-F238E27FC236}">
                <a16:creationId xmlns:a16="http://schemas.microsoft.com/office/drawing/2014/main" id="{0F958036-6F34-4262-8310-0C80EDDA30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7502" y="6561195"/>
            <a:ext cx="1769879" cy="225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5735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FC7AA823-3DC4-424A-9B71-69E540E5BDA4}"/>
              </a:ext>
            </a:extLst>
          </p:cNvPr>
          <p:cNvSpPr txBox="1">
            <a:spLocks/>
          </p:cNvSpPr>
          <p:nvPr/>
        </p:nvSpPr>
        <p:spPr>
          <a:xfrm>
            <a:off x="64856" y="123176"/>
            <a:ext cx="9323475" cy="673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Pros y Contras de la </a:t>
            </a:r>
            <a:r>
              <a:rPr kumimoji="0" lang="es-AR" sz="4000" b="1" i="0" u="none" strike="noStrike" kern="1200" cap="none" spc="0" normalizeH="0" baseline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Decisión Fin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C316C3-8AD8-4F1A-ABF3-046D7551D9D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63461" y="751929"/>
            <a:ext cx="2686050" cy="8572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5F7DC5E-DC84-429C-A141-8C244FCAE0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28115" y="855882"/>
            <a:ext cx="3028950" cy="85725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1C92D9-4588-4944-B9A0-13FD55B2716C}"/>
              </a:ext>
            </a:extLst>
          </p:cNvPr>
          <p:cNvCxnSpPr>
            <a:cxnSpLocks/>
          </p:cNvCxnSpPr>
          <p:nvPr/>
        </p:nvCxnSpPr>
        <p:spPr>
          <a:xfrm>
            <a:off x="5978299" y="1252672"/>
            <a:ext cx="0" cy="30471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19">
            <a:extLst>
              <a:ext uri="{FF2B5EF4-FFF2-40B4-BE49-F238E27FC236}">
                <a16:creationId xmlns:a16="http://schemas.microsoft.com/office/drawing/2014/main" id="{A2273662-A2DC-4CCC-9EC1-23D9532103B3}"/>
              </a:ext>
            </a:extLst>
          </p:cNvPr>
          <p:cNvSpPr/>
          <p:nvPr/>
        </p:nvSpPr>
        <p:spPr>
          <a:xfrm>
            <a:off x="448867" y="1713132"/>
            <a:ext cx="4868812" cy="24125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Gran esfuerzo en horas de trabajo…</a:t>
            </a:r>
            <a:r>
              <a:rPr lang="es-AR" kern="0" dirty="0">
                <a:latin typeface="Arial" panose="020B0604020202020204"/>
              </a:rPr>
              <a:t>quizás no era el momento ideal para asumir un cambi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XXXX</a:t>
            </a:r>
          </a:p>
        </p:txBody>
      </p:sp>
      <p:sp>
        <p:nvSpPr>
          <p:cNvPr id="41" name="Rectangle 19">
            <a:extLst>
              <a:ext uri="{FF2B5EF4-FFF2-40B4-BE49-F238E27FC236}">
                <a16:creationId xmlns:a16="http://schemas.microsoft.com/office/drawing/2014/main" id="{634EA6A7-3AF4-4D28-9B9C-18129C25D5DC}"/>
              </a:ext>
            </a:extLst>
          </p:cNvPr>
          <p:cNvSpPr/>
          <p:nvPr/>
        </p:nvSpPr>
        <p:spPr>
          <a:xfrm>
            <a:off x="6599296" y="1713132"/>
            <a:ext cx="4868812" cy="24125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b="1" kern="0" dirty="0">
                <a:solidFill>
                  <a:srgbClr val="1755DF"/>
                </a:solidFill>
              </a:rPr>
              <a:t>Reconstruir expectativas: </a:t>
            </a:r>
            <a:r>
              <a:rPr lang="es-AR" kern="0" dirty="0">
                <a:solidFill>
                  <a:srgbClr val="292929"/>
                </a:solidFill>
              </a:rPr>
              <a:t>Generar un espacio en el que pueda entender conjuntamente con mi Director, las expectativas y trabajo futuro que se esperan de mi y las posibilidades de crecimiento a futur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XXXXXX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XXXXXXX</a:t>
            </a: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44344293-A1B0-469C-B940-006E7D84C0B3}"/>
              </a:ext>
            </a:extLst>
          </p:cNvPr>
          <p:cNvSpPr/>
          <p:nvPr/>
        </p:nvSpPr>
        <p:spPr>
          <a:xfrm>
            <a:off x="758739" y="4948911"/>
            <a:ext cx="11433261" cy="128860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Continuar </a:t>
            </a: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consolidando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, mi influencia y trabajo dentro de los Equipos de Distribución y Customer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b="1" kern="0" dirty="0">
                <a:solidFill>
                  <a:srgbClr val="1755DF"/>
                </a:solidFill>
              </a:rPr>
              <a:t>Construir confianza </a:t>
            </a:r>
            <a:r>
              <a:rPr lang="es-AR" kern="0" dirty="0">
                <a:solidFill>
                  <a:srgbClr val="292929"/>
                </a:solidFill>
              </a:rPr>
              <a:t>, con el nuevo responsable del COE, y crear un plan de carrera que me permita obtener un crecimiento en el corto/mediano plaz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Profundizar mi Network y desarrollar mis relaciones con el nuevo Director,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 demostrando mis habilidades, experiencia y  compromiso con la organización.</a:t>
            </a:r>
          </a:p>
        </p:txBody>
      </p:sp>
      <p:sp>
        <p:nvSpPr>
          <p:cNvPr id="17" name="Speech Bubble: Rectangle 57">
            <a:extLst>
              <a:ext uri="{FF2B5EF4-FFF2-40B4-BE49-F238E27FC236}">
                <a16:creationId xmlns:a16="http://schemas.microsoft.com/office/drawing/2014/main" id="{42A3601A-95CA-4A8A-AE46-F3E7EE3F3946}"/>
              </a:ext>
            </a:extLst>
          </p:cNvPr>
          <p:cNvSpPr/>
          <p:nvPr/>
        </p:nvSpPr>
        <p:spPr>
          <a:xfrm>
            <a:off x="758739" y="4371294"/>
            <a:ext cx="4994498" cy="515241"/>
          </a:xfrm>
          <a:prstGeom prst="wedgeRectCallout">
            <a:avLst>
              <a:gd name="adj1" fmla="val -20833"/>
              <a:gd name="adj2" fmla="val 25141"/>
            </a:avLst>
          </a:prstGeom>
          <a:gradFill rotWithShape="1">
            <a:gsLst>
              <a:gs pos="0">
                <a:srgbClr val="10069F">
                  <a:satMod val="103000"/>
                  <a:lumMod val="102000"/>
                  <a:tint val="94000"/>
                </a:srgbClr>
              </a:gs>
              <a:gs pos="50000">
                <a:srgbClr val="10069F">
                  <a:satMod val="110000"/>
                  <a:lumMod val="100000"/>
                  <a:shade val="100000"/>
                </a:srgbClr>
              </a:gs>
              <a:gs pos="100000">
                <a:srgbClr val="10069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xt Step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E839BBC-6367-4E22-82AE-DD8285E45D2D}"/>
              </a:ext>
            </a:extLst>
          </p:cNvPr>
          <p:cNvSpPr/>
          <p:nvPr/>
        </p:nvSpPr>
        <p:spPr>
          <a:xfrm>
            <a:off x="9259132" y="194631"/>
            <a:ext cx="2738813" cy="673448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sz="2400" dirty="0">
                <a:solidFill>
                  <a:schemeClr val="bg1"/>
                </a:solidFill>
              </a:rPr>
              <a:t>Pre-work</a:t>
            </a:r>
          </a:p>
        </p:txBody>
      </p:sp>
    </p:spTree>
    <p:extLst>
      <p:ext uri="{BB962C8B-B14F-4D97-AF65-F5344CB8AC3E}">
        <p14:creationId xmlns:p14="http://schemas.microsoft.com/office/powerpoint/2010/main" val="172402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D1999804-DAE1-4EA4-954D-13948786EF01}"/>
              </a:ext>
            </a:extLst>
          </p:cNvPr>
          <p:cNvSpPr txBox="1">
            <a:spLocks/>
          </p:cNvSpPr>
          <p:nvPr/>
        </p:nvSpPr>
        <p:spPr>
          <a:xfrm>
            <a:off x="248576" y="1754762"/>
            <a:ext cx="6964921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B727CFFD-FBB7-4F08-85FF-BBEFDEE695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576" y="4259320"/>
            <a:ext cx="5271655" cy="1655762"/>
          </a:xfrm>
        </p:spPr>
        <p:txBody>
          <a:bodyPr/>
          <a:lstStyle/>
          <a:p>
            <a:pPr algn="l"/>
            <a:endParaRPr lang="pt-BR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C148A5-D9B7-4837-8608-BD78EB9ED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418744"/>
            <a:ext cx="5520231" cy="13800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00A478-390F-418D-9DC5-FB958CAB73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530"/>
            <a:ext cx="12192000" cy="6856491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id="{9CF26F31-1CA9-4CDD-B2E5-F7B044AEBA70}"/>
              </a:ext>
            </a:extLst>
          </p:cNvPr>
          <p:cNvSpPr txBox="1">
            <a:spLocks/>
          </p:cNvSpPr>
          <p:nvPr/>
        </p:nvSpPr>
        <p:spPr>
          <a:xfrm>
            <a:off x="1360714" y="2508069"/>
            <a:ext cx="7645362" cy="105450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ANK YOU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	 LUZ!!!!!</a:t>
            </a:r>
          </a:p>
        </p:txBody>
      </p:sp>
      <p:sp>
        <p:nvSpPr>
          <p:cNvPr id="9" name="Subtítulo 2">
            <a:extLst>
              <a:ext uri="{FF2B5EF4-FFF2-40B4-BE49-F238E27FC236}">
                <a16:creationId xmlns:a16="http://schemas.microsoft.com/office/drawing/2014/main" id="{0BDB7826-63CB-48B6-A8C5-23E8BF3BE37E}"/>
              </a:ext>
            </a:extLst>
          </p:cNvPr>
          <p:cNvSpPr txBox="1">
            <a:spLocks/>
          </p:cNvSpPr>
          <p:nvPr/>
        </p:nvSpPr>
        <p:spPr>
          <a:xfrm>
            <a:off x="2760115" y="2960987"/>
            <a:ext cx="5271655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09018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/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FF008A"/>
              </a:gs>
              <a:gs pos="100000">
                <a:srgbClr val="EB1B2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1818547" y="2462450"/>
            <a:ext cx="3986101" cy="3612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1818427" y="1084063"/>
            <a:ext cx="2678396" cy="267839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9A8B07-521D-433D-8EB2-36325632E4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297" y="116493"/>
            <a:ext cx="1146634" cy="449467"/>
          </a:xfrm>
          <a:prstGeom prst="rect">
            <a:avLst/>
          </a:prstGeom>
        </p:spPr>
      </p:pic>
      <p:sp>
        <p:nvSpPr>
          <p:cNvPr id="18" name="CuadroTexto 17"/>
          <p:cNvSpPr txBox="1"/>
          <p:nvPr/>
        </p:nvSpPr>
        <p:spPr>
          <a:xfrm>
            <a:off x="1883118" y="4060363"/>
            <a:ext cx="3837328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marR="0" lvl="0" indent="-27432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AR" sz="1440" b="1" i="0" u="none" strike="noStrike" kern="1200" cap="none" spc="0" normalizeH="0" baseline="0" noProof="0" dirty="0">
                <a:ln>
                  <a:noFill/>
                </a:ln>
                <a:solidFill>
                  <a:srgbClr val="FF008A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AQUELLO QUE ME CARACTERIZA:</a:t>
            </a:r>
          </a:p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Escucha y empatía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190C5C53-DFB2-43CE-B4BB-F02E09743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1667" y="6505227"/>
            <a:ext cx="1524243" cy="19439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276968-DD07-4FB7-9F39-BDF613D69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8029" y="6080123"/>
            <a:ext cx="2916550" cy="614800"/>
          </a:xfrm>
          <a:prstGeom prst="rect">
            <a:avLst/>
          </a:prstGeom>
        </p:spPr>
      </p:pic>
      <p:sp>
        <p:nvSpPr>
          <p:cNvPr id="27" name="Title 7">
            <a:extLst>
              <a:ext uri="{FF2B5EF4-FFF2-40B4-BE49-F238E27FC236}">
                <a16:creationId xmlns:a16="http://schemas.microsoft.com/office/drawing/2014/main" id="{E31B8215-7094-43D3-B173-F4B31CE04ED9}"/>
              </a:ext>
            </a:extLst>
          </p:cNvPr>
          <p:cNvSpPr txBox="1">
            <a:spLocks/>
          </p:cNvSpPr>
          <p:nvPr/>
        </p:nvSpPr>
        <p:spPr>
          <a:xfrm>
            <a:off x="3348685" y="662948"/>
            <a:ext cx="5641451" cy="509291"/>
          </a:xfrm>
          <a:prstGeom prst="rect">
            <a:avLst/>
          </a:prstGeom>
        </p:spPr>
        <p:txBody>
          <a:bodyPr vert="horz" lIns="54864" tIns="27432" rIns="54864" bIns="2743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5486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ExtraBold" panose="00000900000000000000" pitchFamily="50" charset="0"/>
                <a:ea typeface="+mj-ea"/>
                <a:cs typeface="+mj-cs"/>
              </a:rPr>
              <a:t>“CONOCIÉNDONOS”</a:t>
            </a:r>
            <a:endParaRPr kumimoji="0" lang="en-US" sz="432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ExtraBold" panose="00000900000000000000" pitchFamily="50" charset="0"/>
              <a:ea typeface="+mj-ea"/>
              <a:cs typeface="+mj-cs"/>
            </a:endParaRP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536DAF30-0F69-4DE2-A150-951E6DD52B3A}"/>
              </a:ext>
            </a:extLst>
          </p:cNvPr>
          <p:cNvSpPr txBox="1">
            <a:spLocks/>
          </p:cNvSpPr>
          <p:nvPr/>
        </p:nvSpPr>
        <p:spPr>
          <a:xfrm>
            <a:off x="4166076" y="1429827"/>
            <a:ext cx="3769606" cy="274373"/>
          </a:xfrm>
          <a:prstGeom prst="rect">
            <a:avLst/>
          </a:prstGeom>
        </p:spPr>
        <p:txBody>
          <a:bodyPr vert="horz" lIns="54864" tIns="27432" rIns="54864" bIns="2743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5486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80" b="1" i="0" u="none" strike="noStrike" kern="1200" cap="none" spc="0" normalizeH="0" baseline="0" noProof="0" dirty="0">
                <a:ln>
                  <a:noFill/>
                </a:ln>
                <a:solidFill>
                  <a:srgbClr val="EE3744">
                    <a:lumMod val="20000"/>
                    <a:lumOff val="80000"/>
                  </a:srgbClr>
                </a:solidFill>
                <a:effectLst/>
                <a:uLnTx/>
                <a:uFillTx/>
                <a:latin typeface="Gilroy ExtraBold" panose="00000900000000000000" pitchFamily="50" charset="0"/>
                <a:ea typeface="+mj-ea"/>
                <a:cs typeface="+mj-cs"/>
              </a:rPr>
              <a:t>MENTOR - MENTEE</a:t>
            </a:r>
          </a:p>
        </p:txBody>
      </p:sp>
      <p:sp>
        <p:nvSpPr>
          <p:cNvPr id="30" name="Rectángulo 20">
            <a:extLst>
              <a:ext uri="{FF2B5EF4-FFF2-40B4-BE49-F238E27FC236}">
                <a16:creationId xmlns:a16="http://schemas.microsoft.com/office/drawing/2014/main" id="{C34B6A16-42B8-40F1-825A-0533CB74E39A}"/>
              </a:ext>
            </a:extLst>
          </p:cNvPr>
          <p:cNvSpPr/>
          <p:nvPr/>
        </p:nvSpPr>
        <p:spPr>
          <a:xfrm>
            <a:off x="6425913" y="2443582"/>
            <a:ext cx="3986101" cy="3612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Elipse 8">
            <a:extLst>
              <a:ext uri="{FF2B5EF4-FFF2-40B4-BE49-F238E27FC236}">
                <a16:creationId xmlns:a16="http://schemas.microsoft.com/office/drawing/2014/main" id="{32B7287C-32F1-4D87-8F6E-9BCA89ED1B4B}"/>
              </a:ext>
            </a:extLst>
          </p:cNvPr>
          <p:cNvSpPr/>
          <p:nvPr/>
        </p:nvSpPr>
        <p:spPr>
          <a:xfrm>
            <a:off x="7734432" y="1104383"/>
            <a:ext cx="2678396" cy="267839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CuadroTexto 17">
            <a:extLst>
              <a:ext uri="{FF2B5EF4-FFF2-40B4-BE49-F238E27FC236}">
                <a16:creationId xmlns:a16="http://schemas.microsoft.com/office/drawing/2014/main" id="{680BD781-4370-4E53-90B1-3B80EBD60C00}"/>
              </a:ext>
            </a:extLst>
          </p:cNvPr>
          <p:cNvSpPr txBox="1"/>
          <p:nvPr/>
        </p:nvSpPr>
        <p:spPr>
          <a:xfrm>
            <a:off x="1882773" y="4562330"/>
            <a:ext cx="383732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marR="0" lvl="0" indent="-27432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s-PE" sz="1440" b="1" i="0" u="none" strike="noStrike" kern="1200" cap="none" spc="0" normalizeH="0" baseline="0" noProof="0" dirty="0">
                <a:ln>
                  <a:noFill/>
                </a:ln>
                <a:solidFill>
                  <a:srgbClr val="FF008A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MI PRINCIPAL EXPECTATIVA:</a:t>
            </a:r>
          </a:p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Generar nuevos cuestionamientos/ reflexiones y distintas maneras de ver las cosas</a:t>
            </a:r>
          </a:p>
        </p:txBody>
      </p:sp>
      <p:sp>
        <p:nvSpPr>
          <p:cNvPr id="39" name="CuadroTexto 17">
            <a:extLst>
              <a:ext uri="{FF2B5EF4-FFF2-40B4-BE49-F238E27FC236}">
                <a16:creationId xmlns:a16="http://schemas.microsoft.com/office/drawing/2014/main" id="{A9C6C3F0-010C-41C3-9AB2-67D3DB93CEF5}"/>
              </a:ext>
            </a:extLst>
          </p:cNvPr>
          <p:cNvSpPr txBox="1"/>
          <p:nvPr/>
        </p:nvSpPr>
        <p:spPr>
          <a:xfrm>
            <a:off x="1882773" y="5328753"/>
            <a:ext cx="3837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marR="0" lvl="0" indent="-27432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s-PE" sz="1440" b="1" i="0" u="none" strike="noStrike" kern="1200" cap="none" spc="0" normalizeH="0" baseline="0" noProof="0" dirty="0">
                <a:ln>
                  <a:noFill/>
                </a:ln>
                <a:solidFill>
                  <a:srgbClr val="FF008A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ME COMPROMETO A:</a:t>
            </a:r>
          </a:p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Conversaciones constructivas y transparentes basadas en la confianza</a:t>
            </a:r>
          </a:p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44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Light" panose="00000400000000000000" pitchFamily="50" charset="0"/>
              <a:ea typeface="+mn-ea"/>
              <a:cs typeface="+mn-cs"/>
            </a:endParaRPr>
          </a:p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4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Gilroy Light" panose="00000400000000000000" pitchFamily="50" charset="0"/>
              <a:ea typeface="+mn-ea"/>
              <a:cs typeface="+mn-cs"/>
            </a:endParaRPr>
          </a:p>
        </p:txBody>
      </p:sp>
      <p:sp>
        <p:nvSpPr>
          <p:cNvPr id="40" name="CuadroTexto 44">
            <a:extLst>
              <a:ext uri="{FF2B5EF4-FFF2-40B4-BE49-F238E27FC236}">
                <a16:creationId xmlns:a16="http://schemas.microsoft.com/office/drawing/2014/main" id="{9CCA81D7-A125-4432-A192-14945BB8F382}"/>
              </a:ext>
            </a:extLst>
          </p:cNvPr>
          <p:cNvSpPr txBox="1"/>
          <p:nvPr/>
        </p:nvSpPr>
        <p:spPr>
          <a:xfrm>
            <a:off x="2148963" y="6507298"/>
            <a:ext cx="2335879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92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-Medium" panose="00000600000000000000" pitchFamily="2" charset="0"/>
                <a:ea typeface="+mn-ea"/>
                <a:cs typeface="+mn-cs"/>
              </a:rPr>
              <a:t>#SheCanInspir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755930A-4408-4355-A787-E810DE11E3E9}"/>
              </a:ext>
            </a:extLst>
          </p:cNvPr>
          <p:cNvSpPr/>
          <p:nvPr/>
        </p:nvSpPr>
        <p:spPr>
          <a:xfrm>
            <a:off x="8931484" y="6199535"/>
            <a:ext cx="1531510" cy="325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5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-Medium" panose="00000600000000000000" pitchFamily="2" charset="0"/>
                <a:ea typeface="+mn-ea"/>
                <a:cs typeface="+mn-cs"/>
              </a:rPr>
              <a:t>#WeAreInclusive</a:t>
            </a:r>
          </a:p>
        </p:txBody>
      </p:sp>
      <p:pic>
        <p:nvPicPr>
          <p:cNvPr id="43" name="Imagen 17">
            <a:extLst>
              <a:ext uri="{FF2B5EF4-FFF2-40B4-BE49-F238E27FC236}">
                <a16:creationId xmlns:a16="http://schemas.microsoft.com/office/drawing/2014/main" id="{0F958036-6F34-4262-8310-0C80EDDA30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7502" y="6561195"/>
            <a:ext cx="1769879" cy="225724"/>
          </a:xfrm>
          <a:prstGeom prst="rect">
            <a:avLst/>
          </a:prstGeom>
        </p:spPr>
      </p:pic>
      <p:sp>
        <p:nvSpPr>
          <p:cNvPr id="44" name="CuadroTexto 17">
            <a:extLst>
              <a:ext uri="{FF2B5EF4-FFF2-40B4-BE49-F238E27FC236}">
                <a16:creationId xmlns:a16="http://schemas.microsoft.com/office/drawing/2014/main" id="{49E81D03-84BC-4DF6-9FD8-21555D130A23}"/>
              </a:ext>
            </a:extLst>
          </p:cNvPr>
          <p:cNvSpPr txBox="1"/>
          <p:nvPr/>
        </p:nvSpPr>
        <p:spPr>
          <a:xfrm>
            <a:off x="6527915" y="4061863"/>
            <a:ext cx="3837328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marR="0" lvl="0" indent="-27432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AR" sz="1440" b="1" i="0" u="none" strike="noStrike" kern="1200" cap="none" spc="0" normalizeH="0" baseline="0" noProof="0" dirty="0">
                <a:ln>
                  <a:noFill/>
                </a:ln>
                <a:solidFill>
                  <a:srgbClr val="FF008A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AQUELLO QUE ME CARACTERIZA:</a:t>
            </a:r>
          </a:p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Pasión en todo lo que emprendo</a:t>
            </a:r>
          </a:p>
        </p:txBody>
      </p:sp>
      <p:sp>
        <p:nvSpPr>
          <p:cNvPr id="45" name="CuadroTexto 17">
            <a:extLst>
              <a:ext uri="{FF2B5EF4-FFF2-40B4-BE49-F238E27FC236}">
                <a16:creationId xmlns:a16="http://schemas.microsoft.com/office/drawing/2014/main" id="{4F93F771-8CA9-4AAC-A47D-FEAD9B0289E1}"/>
              </a:ext>
            </a:extLst>
          </p:cNvPr>
          <p:cNvSpPr txBox="1"/>
          <p:nvPr/>
        </p:nvSpPr>
        <p:spPr>
          <a:xfrm>
            <a:off x="6527915" y="4666466"/>
            <a:ext cx="3837328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marR="0" lvl="0" indent="-27432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s-PE" sz="1440" b="1" i="0" u="none" strike="noStrike" kern="1200" cap="none" spc="0" normalizeH="0" baseline="0" noProof="0" dirty="0">
                <a:ln>
                  <a:noFill/>
                </a:ln>
                <a:solidFill>
                  <a:srgbClr val="FF008A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MI PRINCIPAL EXPECTATIVA:</a:t>
            </a:r>
          </a:p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Enriquecerme de experiencia</a:t>
            </a:r>
          </a:p>
        </p:txBody>
      </p:sp>
      <p:sp>
        <p:nvSpPr>
          <p:cNvPr id="46" name="CuadroTexto 17">
            <a:extLst>
              <a:ext uri="{FF2B5EF4-FFF2-40B4-BE49-F238E27FC236}">
                <a16:creationId xmlns:a16="http://schemas.microsoft.com/office/drawing/2014/main" id="{1228E2AB-A36F-457B-B295-C492AED7FDF7}"/>
              </a:ext>
            </a:extLst>
          </p:cNvPr>
          <p:cNvSpPr txBox="1"/>
          <p:nvPr/>
        </p:nvSpPr>
        <p:spPr>
          <a:xfrm>
            <a:off x="6527570" y="5330254"/>
            <a:ext cx="383732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marR="0" lvl="0" indent="-27432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s-PE" sz="1440" b="1" i="0" u="none" strike="noStrike" kern="1200" cap="none" spc="0" normalizeH="0" baseline="0" noProof="0" dirty="0">
                <a:ln>
                  <a:noFill/>
                </a:ln>
                <a:solidFill>
                  <a:srgbClr val="FF008A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ME COMPROMETO A:</a:t>
            </a:r>
          </a:p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Light" panose="00000400000000000000" pitchFamily="50" charset="0"/>
                <a:ea typeface="+mn-ea"/>
                <a:cs typeface="+mn-cs"/>
              </a:rPr>
              <a:t>Tener apertura en todo el proceso de aprendizaje y desarrollo</a:t>
            </a:r>
          </a:p>
        </p:txBody>
      </p:sp>
      <p:sp>
        <p:nvSpPr>
          <p:cNvPr id="29" name="Rectángulo 15">
            <a:extLst>
              <a:ext uri="{FF2B5EF4-FFF2-40B4-BE49-F238E27FC236}">
                <a16:creationId xmlns:a16="http://schemas.microsoft.com/office/drawing/2014/main" id="{F16D9EC9-EE4A-4C70-A516-8441DE318A82}"/>
              </a:ext>
            </a:extLst>
          </p:cNvPr>
          <p:cNvSpPr/>
          <p:nvPr/>
        </p:nvSpPr>
        <p:spPr>
          <a:xfrm>
            <a:off x="1899413" y="3272704"/>
            <a:ext cx="3820688" cy="408028"/>
          </a:xfrm>
          <a:prstGeom prst="rect">
            <a:avLst/>
          </a:prstGeom>
          <a:solidFill>
            <a:srgbClr val="FE5C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10">
            <a:extLst>
              <a:ext uri="{FF2B5EF4-FFF2-40B4-BE49-F238E27FC236}">
                <a16:creationId xmlns:a16="http://schemas.microsoft.com/office/drawing/2014/main" id="{7957FE27-13F5-43BE-BF87-C216F7B55FB1}"/>
              </a:ext>
            </a:extLst>
          </p:cNvPr>
          <p:cNvSpPr txBox="1"/>
          <p:nvPr/>
        </p:nvSpPr>
        <p:spPr>
          <a:xfrm>
            <a:off x="1939436" y="3290886"/>
            <a:ext cx="3952379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768041">
              <a:defRPr sz="2160">
                <a:solidFill>
                  <a:prstClr val="white"/>
                </a:solidFill>
                <a:latin typeface="Gilroy ExtraBold" panose="00000900000000000000" pitchFamily="50" charset="0"/>
              </a:defRPr>
            </a:lvl1pPr>
          </a:lstStyle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ExtraBold" panose="00000900000000000000" pitchFamily="50" charset="0"/>
                <a:ea typeface="+mn-ea"/>
                <a:cs typeface="+mn-cs"/>
              </a:rPr>
              <a:t>M. LUZ MARTINEZ CAMERA</a:t>
            </a:r>
          </a:p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20" b="0" i="0" u="none" strike="noStrike" kern="1200" cap="none" spc="0" normalizeH="0" baseline="0" noProof="0" dirty="0">
                <a:ln>
                  <a:noFill/>
                </a:ln>
                <a:solidFill>
                  <a:srgbClr val="FF008A"/>
                </a:solidFill>
                <a:effectLst/>
                <a:uLnTx/>
                <a:uFillTx/>
                <a:latin typeface="Gilroy ExtraBold" panose="00000900000000000000" pitchFamily="50" charset="0"/>
                <a:ea typeface="+mn-ea"/>
                <a:cs typeface="+mn-cs"/>
              </a:rPr>
              <a:t>| MENTOR</a:t>
            </a:r>
          </a:p>
        </p:txBody>
      </p:sp>
      <p:sp>
        <p:nvSpPr>
          <p:cNvPr id="36" name="Rectángulo 15">
            <a:extLst>
              <a:ext uri="{FF2B5EF4-FFF2-40B4-BE49-F238E27FC236}">
                <a16:creationId xmlns:a16="http://schemas.microsoft.com/office/drawing/2014/main" id="{855BF80E-6388-4C75-9232-7F06D44611AB}"/>
              </a:ext>
            </a:extLst>
          </p:cNvPr>
          <p:cNvSpPr/>
          <p:nvPr/>
        </p:nvSpPr>
        <p:spPr>
          <a:xfrm>
            <a:off x="6500991" y="3274976"/>
            <a:ext cx="3820688" cy="408028"/>
          </a:xfrm>
          <a:prstGeom prst="rect">
            <a:avLst/>
          </a:prstGeom>
          <a:solidFill>
            <a:srgbClr val="FE5C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10">
            <a:extLst>
              <a:ext uri="{FF2B5EF4-FFF2-40B4-BE49-F238E27FC236}">
                <a16:creationId xmlns:a16="http://schemas.microsoft.com/office/drawing/2014/main" id="{C8A3BA65-7AC7-456F-890D-8BD15C880B70}"/>
              </a:ext>
            </a:extLst>
          </p:cNvPr>
          <p:cNvSpPr txBox="1"/>
          <p:nvPr/>
        </p:nvSpPr>
        <p:spPr>
          <a:xfrm>
            <a:off x="6541014" y="3293158"/>
            <a:ext cx="3952379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768041">
              <a:defRPr sz="2160">
                <a:solidFill>
                  <a:prstClr val="white"/>
                </a:solidFill>
                <a:latin typeface="Gilroy ExtraBold" panose="00000900000000000000" pitchFamily="50" charset="0"/>
              </a:defRPr>
            </a:lvl1pPr>
          </a:lstStyle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6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ExtraBold" panose="00000900000000000000" pitchFamily="50" charset="0"/>
                <a:ea typeface="+mn-ea"/>
                <a:cs typeface="+mn-cs"/>
              </a:rPr>
              <a:t>CONNIE CLARK</a:t>
            </a:r>
          </a:p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920" b="0" i="0" u="none" strike="noStrike" kern="1200" cap="none" spc="0" normalizeH="0" baseline="0" noProof="0" dirty="0">
                <a:ln>
                  <a:noFill/>
                </a:ln>
                <a:solidFill>
                  <a:srgbClr val="FF008A"/>
                </a:solidFill>
                <a:effectLst/>
                <a:uLnTx/>
                <a:uFillTx/>
                <a:latin typeface="Gilroy ExtraBold" panose="00000900000000000000" pitchFamily="50" charset="0"/>
                <a:ea typeface="+mn-ea"/>
                <a:cs typeface="+mn-cs"/>
              </a:rPr>
              <a:t>			| MENTE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FFE292-6B70-442B-B915-18C617313A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6089" y="1432464"/>
            <a:ext cx="1595577" cy="17334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E74BDF2-9FC5-4AD1-906C-C0A4E59897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5841" y="1431600"/>
            <a:ext cx="1595578" cy="1735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0355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/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FF008A"/>
              </a:gs>
              <a:gs pos="100000">
                <a:srgbClr val="EB1B2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9A8B07-521D-433D-8EB2-36325632E4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297" y="116493"/>
            <a:ext cx="1146634" cy="449467"/>
          </a:xfrm>
          <a:prstGeom prst="rect">
            <a:avLst/>
          </a:prstGeom>
        </p:spPr>
      </p:pic>
      <p:sp>
        <p:nvSpPr>
          <p:cNvPr id="18" name="CuadroTexto 17"/>
          <p:cNvSpPr txBox="1"/>
          <p:nvPr/>
        </p:nvSpPr>
        <p:spPr>
          <a:xfrm>
            <a:off x="986198" y="2484126"/>
            <a:ext cx="10025853" cy="1889748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768041"/>
            <a:r>
              <a:rPr lang="es-AR" sz="8800" b="1" dirty="0">
                <a:solidFill>
                  <a:schemeClr val="bg1"/>
                </a:solidFill>
                <a:latin typeface="Gilroy Light" panose="00000400000000000000" pitchFamily="50" charset="0"/>
              </a:rPr>
              <a:t>Sesión 1</a:t>
            </a:r>
          </a:p>
          <a:p>
            <a:pPr lvl="0" defTabSz="768041"/>
            <a:endParaRPr lang="es-AR" sz="1440" b="1" dirty="0">
              <a:solidFill>
                <a:srgbClr val="FF008A"/>
              </a:solidFill>
              <a:latin typeface="Gilroy Light" panose="00000400000000000000" pitchFamily="50" charset="0"/>
            </a:endParaRPr>
          </a:p>
          <a:p>
            <a:pPr lvl="0" defTabSz="768041"/>
            <a:endParaRPr lang="es-AR" sz="1440" b="1" dirty="0">
              <a:solidFill>
                <a:srgbClr val="FF008A"/>
              </a:solidFill>
              <a:latin typeface="Gilroy Light" panose="00000400000000000000" pitchFamily="50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190C5C53-DFB2-43CE-B4BB-F02E09743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1667" y="6505227"/>
            <a:ext cx="1524243" cy="19439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276968-DD07-4FB7-9F39-BDF613D69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8029" y="6080123"/>
            <a:ext cx="2916550" cy="614800"/>
          </a:xfrm>
          <a:prstGeom prst="rect">
            <a:avLst/>
          </a:prstGeom>
        </p:spPr>
      </p:pic>
      <p:sp>
        <p:nvSpPr>
          <p:cNvPr id="28" name="Title 7">
            <a:extLst>
              <a:ext uri="{FF2B5EF4-FFF2-40B4-BE49-F238E27FC236}">
                <a16:creationId xmlns:a16="http://schemas.microsoft.com/office/drawing/2014/main" id="{536DAF30-0F69-4DE2-A150-951E6DD52B3A}"/>
              </a:ext>
            </a:extLst>
          </p:cNvPr>
          <p:cNvSpPr txBox="1">
            <a:spLocks/>
          </p:cNvSpPr>
          <p:nvPr/>
        </p:nvSpPr>
        <p:spPr>
          <a:xfrm>
            <a:off x="118256" y="1889500"/>
            <a:ext cx="3769606" cy="274373"/>
          </a:xfrm>
          <a:prstGeom prst="rect">
            <a:avLst/>
          </a:prstGeom>
        </p:spPr>
        <p:txBody>
          <a:bodyPr vert="horz" lIns="54864" tIns="27432" rIns="54864" bIns="2743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5486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rgbClr val="FF008A"/>
                </a:solidFill>
                <a:latin typeface="Gilroy ExtraBold" panose="00000900000000000000" pitchFamily="50" charset="0"/>
                <a:ea typeface="+mn-ea"/>
                <a:cs typeface="+mn-cs"/>
              </a:rPr>
              <a:t>AGENDA</a:t>
            </a:r>
          </a:p>
        </p:txBody>
      </p:sp>
      <p:sp>
        <p:nvSpPr>
          <p:cNvPr id="40" name="CuadroTexto 44">
            <a:extLst>
              <a:ext uri="{FF2B5EF4-FFF2-40B4-BE49-F238E27FC236}">
                <a16:creationId xmlns:a16="http://schemas.microsoft.com/office/drawing/2014/main" id="{9CCA81D7-A125-4432-A192-14945BB8F382}"/>
              </a:ext>
            </a:extLst>
          </p:cNvPr>
          <p:cNvSpPr txBox="1"/>
          <p:nvPr/>
        </p:nvSpPr>
        <p:spPr>
          <a:xfrm>
            <a:off x="2148963" y="6507298"/>
            <a:ext cx="2335879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92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-Medium" panose="00000600000000000000" pitchFamily="2" charset="0"/>
                <a:ea typeface="+mn-ea"/>
                <a:cs typeface="+mn-cs"/>
              </a:rPr>
              <a:t>#SheCanInspir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755930A-4408-4355-A787-E810DE11E3E9}"/>
              </a:ext>
            </a:extLst>
          </p:cNvPr>
          <p:cNvSpPr/>
          <p:nvPr/>
        </p:nvSpPr>
        <p:spPr>
          <a:xfrm>
            <a:off x="8931484" y="6199535"/>
            <a:ext cx="1531510" cy="325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5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-Medium" panose="00000600000000000000" pitchFamily="2" charset="0"/>
                <a:ea typeface="+mn-ea"/>
                <a:cs typeface="+mn-cs"/>
              </a:rPr>
              <a:t>#WeAreInclusive</a:t>
            </a:r>
          </a:p>
        </p:txBody>
      </p:sp>
      <p:pic>
        <p:nvPicPr>
          <p:cNvPr id="43" name="Imagen 17">
            <a:extLst>
              <a:ext uri="{FF2B5EF4-FFF2-40B4-BE49-F238E27FC236}">
                <a16:creationId xmlns:a16="http://schemas.microsoft.com/office/drawing/2014/main" id="{0F958036-6F34-4262-8310-0C80EDDA30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7502" y="6561195"/>
            <a:ext cx="1769879" cy="225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9955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/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FF008A"/>
              </a:gs>
              <a:gs pos="100000">
                <a:srgbClr val="EB1B2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555683" y="2468557"/>
            <a:ext cx="10944034" cy="3454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555683" y="1073177"/>
            <a:ext cx="2678396" cy="267839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9A8B07-521D-433D-8EB2-36325632E4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297" y="116493"/>
            <a:ext cx="1146634" cy="449467"/>
          </a:xfrm>
          <a:prstGeom prst="rect">
            <a:avLst/>
          </a:prstGeom>
        </p:spPr>
      </p:pic>
      <p:sp>
        <p:nvSpPr>
          <p:cNvPr id="18" name="CuadroTexto 17"/>
          <p:cNvSpPr txBox="1"/>
          <p:nvPr/>
        </p:nvSpPr>
        <p:spPr>
          <a:xfrm>
            <a:off x="1193026" y="2700642"/>
            <a:ext cx="10025853" cy="3859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8041"/>
            <a:r>
              <a:rPr lang="es-AR" sz="2400" b="1" dirty="0">
                <a:solidFill>
                  <a:srgbClr val="FF008A"/>
                </a:solidFill>
                <a:latin typeface="Gilroy Light" panose="00000400000000000000" pitchFamily="50" charset="0"/>
              </a:rPr>
              <a:t>•            ¿Qué entiendes por Mentoring  y qué papel puedes desempeñar en 	    este proceso?</a:t>
            </a:r>
          </a:p>
          <a:p>
            <a:pPr lvl="0" defTabSz="768041"/>
            <a:r>
              <a:rPr lang="es-AR" sz="2400" b="1" dirty="0">
                <a:solidFill>
                  <a:srgbClr val="FF008A"/>
                </a:solidFill>
                <a:latin typeface="Gilroy Light" panose="00000400000000000000" pitchFamily="50" charset="0"/>
              </a:rPr>
              <a:t>•            ¿Qué es lo que más te gusta/motiva de tu rol?</a:t>
            </a:r>
          </a:p>
          <a:p>
            <a:pPr lvl="0" defTabSz="768041"/>
            <a:r>
              <a:rPr lang="es-AR" sz="2400" b="1" dirty="0">
                <a:solidFill>
                  <a:srgbClr val="FF008A"/>
                </a:solidFill>
                <a:latin typeface="Gilroy Light" panose="00000400000000000000" pitchFamily="50" charset="0"/>
              </a:rPr>
              <a:t>•            ¿Cuáles son algunas de tus aspiraciones profesionales?</a:t>
            </a:r>
          </a:p>
          <a:p>
            <a:pPr lvl="0" defTabSz="768041"/>
            <a:r>
              <a:rPr lang="es-AR" sz="2400" b="1" dirty="0">
                <a:solidFill>
                  <a:srgbClr val="FF008A"/>
                </a:solidFill>
                <a:latin typeface="Gilroy Light" panose="00000400000000000000" pitchFamily="50" charset="0"/>
              </a:rPr>
              <a:t>•            ¿Qué te impide liberar todo tu potencial?</a:t>
            </a:r>
          </a:p>
          <a:p>
            <a:pPr lvl="0" defTabSz="768041"/>
            <a:r>
              <a:rPr lang="es-AR" sz="2400" b="1" dirty="0">
                <a:solidFill>
                  <a:srgbClr val="FF008A"/>
                </a:solidFill>
                <a:latin typeface="Gilroy Light" panose="00000400000000000000" pitchFamily="50" charset="0"/>
              </a:rPr>
              <a:t>•            ¿Qué barreras crees que existen para las mujeres para seguir    	 	   creciendo en K-C y cómo crees que podemos superarlas?</a:t>
            </a:r>
          </a:p>
          <a:p>
            <a:pPr lvl="0" defTabSz="768041"/>
            <a:r>
              <a:rPr lang="es-AR" sz="2400" b="1" dirty="0">
                <a:solidFill>
                  <a:srgbClr val="FF008A"/>
                </a:solidFill>
                <a:latin typeface="Gilroy Light" panose="00000400000000000000" pitchFamily="50" charset="0"/>
              </a:rPr>
              <a:t>•            ¿Qué te gustaría conversar en esta sesión de Mentoring?</a:t>
            </a:r>
          </a:p>
          <a:p>
            <a:pPr lvl="0" defTabSz="768041"/>
            <a:r>
              <a:rPr lang="es-AR" sz="2400" b="1" dirty="0">
                <a:solidFill>
                  <a:srgbClr val="FF008A"/>
                </a:solidFill>
                <a:latin typeface="Gilroy Light" panose="00000400000000000000" pitchFamily="50" charset="0"/>
              </a:rPr>
              <a:t> </a:t>
            </a:r>
          </a:p>
          <a:p>
            <a:pPr lvl="0" defTabSz="768041"/>
            <a:endParaRPr lang="es-AR" sz="1440" b="1" dirty="0">
              <a:solidFill>
                <a:srgbClr val="FF008A"/>
              </a:solidFill>
              <a:latin typeface="Gilroy Light" panose="00000400000000000000" pitchFamily="50" charset="0"/>
            </a:endParaRPr>
          </a:p>
          <a:p>
            <a:pPr lvl="0" defTabSz="768041"/>
            <a:endParaRPr lang="es-AR" sz="1440" b="1" dirty="0">
              <a:solidFill>
                <a:srgbClr val="FF008A"/>
              </a:solidFill>
              <a:latin typeface="Gilroy Light" panose="00000400000000000000" pitchFamily="50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190C5C53-DFB2-43CE-B4BB-F02E09743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1667" y="6505227"/>
            <a:ext cx="1524243" cy="19439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276968-DD07-4FB7-9F39-BDF613D69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8029" y="6080123"/>
            <a:ext cx="2916550" cy="614800"/>
          </a:xfrm>
          <a:prstGeom prst="rect">
            <a:avLst/>
          </a:prstGeom>
        </p:spPr>
      </p:pic>
      <p:sp>
        <p:nvSpPr>
          <p:cNvPr id="27" name="Title 7">
            <a:extLst>
              <a:ext uri="{FF2B5EF4-FFF2-40B4-BE49-F238E27FC236}">
                <a16:creationId xmlns:a16="http://schemas.microsoft.com/office/drawing/2014/main" id="{E31B8215-7094-43D3-B173-F4B31CE04ED9}"/>
              </a:ext>
            </a:extLst>
          </p:cNvPr>
          <p:cNvSpPr txBox="1">
            <a:spLocks/>
          </p:cNvSpPr>
          <p:nvPr/>
        </p:nvSpPr>
        <p:spPr>
          <a:xfrm>
            <a:off x="4271828" y="1889030"/>
            <a:ext cx="5641451" cy="509291"/>
          </a:xfrm>
          <a:prstGeom prst="rect">
            <a:avLst/>
          </a:prstGeom>
        </p:spPr>
        <p:txBody>
          <a:bodyPr vert="horz" lIns="54864" tIns="27432" rIns="54864" bIns="2743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5486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ExtraBold" panose="00000900000000000000" pitchFamily="50" charset="0"/>
                <a:ea typeface="+mj-ea"/>
                <a:cs typeface="+mj-cs"/>
              </a:rPr>
              <a:t>“CONOCIÉNDONOS”</a:t>
            </a:r>
            <a:endParaRPr kumimoji="0" lang="en-US" sz="432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ExtraBold" panose="00000900000000000000" pitchFamily="50" charset="0"/>
              <a:ea typeface="+mj-ea"/>
              <a:cs typeface="+mj-cs"/>
            </a:endParaRP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536DAF30-0F69-4DE2-A150-951E6DD52B3A}"/>
              </a:ext>
            </a:extLst>
          </p:cNvPr>
          <p:cNvSpPr txBox="1">
            <a:spLocks/>
          </p:cNvSpPr>
          <p:nvPr/>
        </p:nvSpPr>
        <p:spPr>
          <a:xfrm>
            <a:off x="118256" y="1889500"/>
            <a:ext cx="3769606" cy="274373"/>
          </a:xfrm>
          <a:prstGeom prst="rect">
            <a:avLst/>
          </a:prstGeom>
        </p:spPr>
        <p:txBody>
          <a:bodyPr vert="horz" lIns="54864" tIns="27432" rIns="54864" bIns="2743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5486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dirty="0">
                <a:solidFill>
                  <a:srgbClr val="FF008A"/>
                </a:solidFill>
                <a:latin typeface="Gilroy ExtraBold" panose="00000900000000000000" pitchFamily="50" charset="0"/>
                <a:ea typeface="+mn-ea"/>
                <a:cs typeface="+mn-cs"/>
              </a:rPr>
              <a:t>AGENDA</a:t>
            </a:r>
          </a:p>
        </p:txBody>
      </p:sp>
      <p:sp>
        <p:nvSpPr>
          <p:cNvPr id="40" name="CuadroTexto 44">
            <a:extLst>
              <a:ext uri="{FF2B5EF4-FFF2-40B4-BE49-F238E27FC236}">
                <a16:creationId xmlns:a16="http://schemas.microsoft.com/office/drawing/2014/main" id="{9CCA81D7-A125-4432-A192-14945BB8F382}"/>
              </a:ext>
            </a:extLst>
          </p:cNvPr>
          <p:cNvSpPr txBox="1"/>
          <p:nvPr/>
        </p:nvSpPr>
        <p:spPr>
          <a:xfrm>
            <a:off x="2148963" y="6507298"/>
            <a:ext cx="2335879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92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-Medium" panose="00000600000000000000" pitchFamily="2" charset="0"/>
                <a:ea typeface="+mn-ea"/>
                <a:cs typeface="+mn-cs"/>
              </a:rPr>
              <a:t>#SheCanInspir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755930A-4408-4355-A787-E810DE11E3E9}"/>
              </a:ext>
            </a:extLst>
          </p:cNvPr>
          <p:cNvSpPr/>
          <p:nvPr/>
        </p:nvSpPr>
        <p:spPr>
          <a:xfrm>
            <a:off x="8931484" y="6199535"/>
            <a:ext cx="1531510" cy="325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68041" rtl="0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5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-Medium" panose="00000600000000000000" pitchFamily="2" charset="0"/>
                <a:ea typeface="+mn-ea"/>
                <a:cs typeface="+mn-cs"/>
              </a:rPr>
              <a:t>#WeAreInclusive</a:t>
            </a:r>
          </a:p>
        </p:txBody>
      </p:sp>
      <p:pic>
        <p:nvPicPr>
          <p:cNvPr id="43" name="Imagen 17">
            <a:extLst>
              <a:ext uri="{FF2B5EF4-FFF2-40B4-BE49-F238E27FC236}">
                <a16:creationId xmlns:a16="http://schemas.microsoft.com/office/drawing/2014/main" id="{0F958036-6F34-4262-8310-0C80EDDA30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7502" y="6561195"/>
            <a:ext cx="1769879" cy="225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608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B17508-80BA-494E-BE3C-734686E198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810" y="1"/>
            <a:ext cx="1216819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227658F-6E88-4555-BAE1-5105DC6B22FE}"/>
              </a:ext>
            </a:extLst>
          </p:cNvPr>
          <p:cNvSpPr/>
          <p:nvPr/>
        </p:nvSpPr>
        <p:spPr>
          <a:xfrm>
            <a:off x="3606884" y="3370314"/>
            <a:ext cx="54149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Es una relación de aprendizaje y desarrollo entre alguien con  una experiencia determinada ( Mentor) y alguien que quiere aprender (Mentee).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81203DAB-25B8-480D-B522-D8A88CDF46F2}"/>
              </a:ext>
            </a:extLst>
          </p:cNvPr>
          <p:cNvSpPr txBox="1">
            <a:spLocks/>
          </p:cNvSpPr>
          <p:nvPr/>
        </p:nvSpPr>
        <p:spPr>
          <a:xfrm>
            <a:off x="298037" y="114775"/>
            <a:ext cx="11870153" cy="124376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>
              <a:defRPr/>
            </a:pPr>
            <a:r>
              <a:rPr lang="es-AR" sz="4000" dirty="0">
                <a:latin typeface="Arial" panose="020B0604020202020204"/>
              </a:rPr>
              <a:t>¿Qué entiendes por Mentoring  y qué papel puedes desempeñar en este proceso?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9DEEE5AC-78C0-40B1-8A74-FBB961193B5D}"/>
              </a:ext>
            </a:extLst>
          </p:cNvPr>
          <p:cNvSpPr txBox="1">
            <a:spLocks/>
          </p:cNvSpPr>
          <p:nvPr/>
        </p:nvSpPr>
        <p:spPr>
          <a:xfrm>
            <a:off x="3348685" y="1655723"/>
            <a:ext cx="5641451" cy="509291"/>
          </a:xfrm>
          <a:prstGeom prst="rect">
            <a:avLst/>
          </a:prstGeom>
        </p:spPr>
        <p:txBody>
          <a:bodyPr vert="horz" lIns="54864" tIns="27432" rIns="54864" bIns="2743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54864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 ExtraBold" panose="00000900000000000000" pitchFamily="50" charset="0"/>
                <a:ea typeface="+mj-ea"/>
                <a:cs typeface="+mj-cs"/>
              </a:rPr>
              <a:t>“CONOCIÉNDONOS”</a:t>
            </a:r>
            <a:endParaRPr kumimoji="0" lang="en-US" sz="432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roy ExtraBold" panose="00000900000000000000" pitchFamily="50" charset="0"/>
              <a:ea typeface="+mj-ea"/>
              <a:cs typeface="+mj-cs"/>
            </a:endParaRPr>
          </a:p>
        </p:txBody>
      </p:sp>
      <p:sp>
        <p:nvSpPr>
          <p:cNvPr id="5" name="Heptagon 4">
            <a:extLst>
              <a:ext uri="{FF2B5EF4-FFF2-40B4-BE49-F238E27FC236}">
                <a16:creationId xmlns:a16="http://schemas.microsoft.com/office/drawing/2014/main" id="{452114C8-147E-4EDA-8B1C-62330EC07E43}"/>
              </a:ext>
            </a:extLst>
          </p:cNvPr>
          <p:cNvSpPr/>
          <p:nvPr/>
        </p:nvSpPr>
        <p:spPr>
          <a:xfrm>
            <a:off x="8816781" y="1583217"/>
            <a:ext cx="3017980" cy="2868753"/>
          </a:xfrm>
          <a:prstGeom prst="heptagon">
            <a:avLst/>
          </a:prstGeom>
          <a:solidFill>
            <a:srgbClr val="FE5CB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5350">
              <a:buClr>
                <a:prstClr val="white"/>
              </a:buClr>
            </a:pPr>
            <a:endParaRPr lang="es-AR" sz="2000" b="1" dirty="0">
              <a:solidFill>
                <a:prstClr val="white"/>
              </a:solidFill>
              <a:latin typeface="Arial" panose="020B0604020202020204" pitchFamily="34" charset="0"/>
              <a:ea typeface="Gulim" panose="020B0600000101010101" pitchFamily="34" charset="-127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6DAB94B-FC00-4D37-BB53-6CC156526A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20486" y="2166977"/>
            <a:ext cx="1568521" cy="1767698"/>
          </a:xfrm>
          <a:prstGeom prst="rect">
            <a:avLst/>
          </a:prstGeom>
        </p:spPr>
      </p:pic>
      <p:sp>
        <p:nvSpPr>
          <p:cNvPr id="14" name="Heptagon 13">
            <a:extLst>
              <a:ext uri="{FF2B5EF4-FFF2-40B4-BE49-F238E27FC236}">
                <a16:creationId xmlns:a16="http://schemas.microsoft.com/office/drawing/2014/main" id="{68EA1754-FB71-461F-A2EC-D5B071F676C6}"/>
              </a:ext>
            </a:extLst>
          </p:cNvPr>
          <p:cNvSpPr/>
          <p:nvPr/>
        </p:nvSpPr>
        <p:spPr>
          <a:xfrm>
            <a:off x="449283" y="1371269"/>
            <a:ext cx="3017980" cy="2868753"/>
          </a:xfrm>
          <a:prstGeom prst="heptagon">
            <a:avLst/>
          </a:prstGeom>
          <a:solidFill>
            <a:srgbClr val="FE5CB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5350">
              <a:buClr>
                <a:prstClr val="white"/>
              </a:buClr>
            </a:pPr>
            <a:r>
              <a:rPr lang="en-US" sz="2880" b="1" dirty="0">
                <a:solidFill>
                  <a:srgbClr val="EE3744">
                    <a:lumMod val="20000"/>
                    <a:lumOff val="80000"/>
                  </a:srgbClr>
                </a:solidFill>
                <a:latin typeface="Gilroy ExtraBold" panose="00000900000000000000" pitchFamily="50" charset="0"/>
              </a:rPr>
              <a:t>MENTOR</a:t>
            </a:r>
            <a:endParaRPr lang="es-AR" sz="2000" b="1" dirty="0">
              <a:solidFill>
                <a:prstClr val="white"/>
              </a:solidFill>
              <a:latin typeface="Arial" panose="020B0604020202020204" pitchFamily="34" charset="0"/>
              <a:ea typeface="Gulim" panose="020B0600000101010101" pitchFamily="34" charset="-127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38A15BD-19A4-494D-9BC3-07F4CDC596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98737" y="2081510"/>
            <a:ext cx="1499386" cy="1474396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A7CC311-CEC9-4238-8288-C7F35F69A5F7}"/>
              </a:ext>
            </a:extLst>
          </p:cNvPr>
          <p:cNvSpPr/>
          <p:nvPr/>
        </p:nvSpPr>
        <p:spPr>
          <a:xfrm>
            <a:off x="1358044" y="3607711"/>
            <a:ext cx="11807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10069F"/>
                </a:solidFill>
                <a:latin typeface="Arial" panose="020B0604020202020204"/>
              </a:rPr>
              <a:t>MENTOR</a:t>
            </a:r>
            <a:endParaRPr lang="es-AR" b="1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D84831-02C6-4AE9-A14C-E8D298FB934C}"/>
              </a:ext>
            </a:extLst>
          </p:cNvPr>
          <p:cNvSpPr/>
          <p:nvPr/>
        </p:nvSpPr>
        <p:spPr>
          <a:xfrm>
            <a:off x="9735385" y="3977043"/>
            <a:ext cx="11464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10069F"/>
                </a:solidFill>
                <a:latin typeface="Arial" panose="020B0604020202020204"/>
              </a:rPr>
              <a:t>MENTEE</a:t>
            </a:r>
            <a:endParaRPr lang="es-AR" b="1" dirty="0">
              <a:solidFill>
                <a:srgbClr val="10069F"/>
              </a:solidFill>
              <a:latin typeface="Arial" panose="020B0604020202020204"/>
            </a:endParaRPr>
          </a:p>
        </p:txBody>
      </p:sp>
      <p:sp>
        <p:nvSpPr>
          <p:cNvPr id="20" name="Arrow: Left-Right 19">
            <a:extLst>
              <a:ext uri="{FF2B5EF4-FFF2-40B4-BE49-F238E27FC236}">
                <a16:creationId xmlns:a16="http://schemas.microsoft.com/office/drawing/2014/main" id="{7E490686-E8EB-4F33-BC8F-2FC2CCD3C45D}"/>
              </a:ext>
            </a:extLst>
          </p:cNvPr>
          <p:cNvSpPr/>
          <p:nvPr/>
        </p:nvSpPr>
        <p:spPr>
          <a:xfrm>
            <a:off x="4216717" y="1711469"/>
            <a:ext cx="4025946" cy="1593431"/>
          </a:xfrm>
          <a:prstGeom prst="leftRightArrow">
            <a:avLst/>
          </a:prstGeom>
          <a:solidFill>
            <a:srgbClr val="F937E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BACA018-902F-4C52-AA9D-BFB10CD7D87C}"/>
              </a:ext>
            </a:extLst>
          </p:cNvPr>
          <p:cNvSpPr/>
          <p:nvPr/>
        </p:nvSpPr>
        <p:spPr>
          <a:xfrm>
            <a:off x="3348685" y="4592955"/>
            <a:ext cx="84860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La interacción  entre ambas incluiría:</a:t>
            </a:r>
          </a:p>
          <a:p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A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86198FE-8B2A-4655-AB92-26FDC7737420}"/>
              </a:ext>
            </a:extLst>
          </p:cNvPr>
          <p:cNvSpPr/>
          <p:nvPr/>
        </p:nvSpPr>
        <p:spPr>
          <a:xfrm>
            <a:off x="4216717" y="4852613"/>
            <a:ext cx="848607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Comunicación colaborativa profesional ( Networking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 Apoyo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Colaboración para orientar netx steps a nivel profesional</a:t>
            </a:r>
            <a:endParaRPr lang="es-A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Graphic 24" descr="User network">
            <a:extLst>
              <a:ext uri="{FF2B5EF4-FFF2-40B4-BE49-F238E27FC236}">
                <a16:creationId xmlns:a16="http://schemas.microsoft.com/office/drawing/2014/main" id="{F3614979-A107-4725-9395-A1EDC417D61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83421" y="2054279"/>
            <a:ext cx="1292537" cy="927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6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B17508-80BA-494E-BE3C-734686E198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1035" y="0"/>
            <a:ext cx="12168190" cy="6858000"/>
          </a:xfrm>
          <a:prstGeom prst="rect">
            <a:avLst/>
          </a:prstGeom>
        </p:spPr>
      </p:pic>
      <p:sp>
        <p:nvSpPr>
          <p:cNvPr id="38" name="Rectángulo 1">
            <a:extLst>
              <a:ext uri="{FF2B5EF4-FFF2-40B4-BE49-F238E27FC236}">
                <a16:creationId xmlns:a16="http://schemas.microsoft.com/office/drawing/2014/main" id="{855CADBF-80B7-49E8-9B96-A18B65704DDD}"/>
              </a:ext>
            </a:extLst>
          </p:cNvPr>
          <p:cNvSpPr/>
          <p:nvPr/>
        </p:nvSpPr>
        <p:spPr>
          <a:xfrm>
            <a:off x="34845" y="78362"/>
            <a:ext cx="120378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40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roducción</a:t>
            </a:r>
          </a:p>
        </p:txBody>
      </p:sp>
      <p:sp>
        <p:nvSpPr>
          <p:cNvPr id="41" name="Rectángulo 7">
            <a:extLst>
              <a:ext uri="{FF2B5EF4-FFF2-40B4-BE49-F238E27FC236}">
                <a16:creationId xmlns:a16="http://schemas.microsoft.com/office/drawing/2014/main" id="{EEE0FE94-4D19-40D5-9C4E-AD610F65DC6E}"/>
              </a:ext>
            </a:extLst>
          </p:cNvPr>
          <p:cNvSpPr/>
          <p:nvPr/>
        </p:nvSpPr>
        <p:spPr>
          <a:xfrm>
            <a:off x="1234481" y="1334054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4</a:t>
            </a:r>
          </a:p>
        </p:txBody>
      </p:sp>
      <p:sp>
        <p:nvSpPr>
          <p:cNvPr id="54" name="Rectángulo 5">
            <a:extLst>
              <a:ext uri="{FF2B5EF4-FFF2-40B4-BE49-F238E27FC236}">
                <a16:creationId xmlns:a16="http://schemas.microsoft.com/office/drawing/2014/main" id="{55E25852-D356-4F00-A9D7-4728624E42FF}"/>
              </a:ext>
            </a:extLst>
          </p:cNvPr>
          <p:cNvSpPr/>
          <p:nvPr/>
        </p:nvSpPr>
        <p:spPr>
          <a:xfrm>
            <a:off x="-36948" y="820756"/>
            <a:ext cx="25699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sng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rera Profesional KC</a:t>
            </a:r>
            <a:endParaRPr kumimoji="0" lang="es-AR" sz="1800" b="0" i="0" u="sng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ectángulo 36">
            <a:extLst>
              <a:ext uri="{FF2B5EF4-FFF2-40B4-BE49-F238E27FC236}">
                <a16:creationId xmlns:a16="http://schemas.microsoft.com/office/drawing/2014/main" id="{C914AAAC-A54F-4208-BC94-44218371DFB9}"/>
              </a:ext>
            </a:extLst>
          </p:cNvPr>
          <p:cNvSpPr/>
          <p:nvPr/>
        </p:nvSpPr>
        <p:spPr>
          <a:xfrm>
            <a:off x="551686" y="5546503"/>
            <a:ext cx="12439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ion Plan</a:t>
            </a:r>
          </a:p>
        </p:txBody>
      </p:sp>
      <p:graphicFrame>
        <p:nvGraphicFramePr>
          <p:cNvPr id="73" name="Diagrama 6">
            <a:extLst>
              <a:ext uri="{FF2B5EF4-FFF2-40B4-BE49-F238E27FC236}">
                <a16:creationId xmlns:a16="http://schemas.microsoft.com/office/drawing/2014/main" id="{463184F8-640E-408A-8264-5F549E873F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6933906"/>
              </p:ext>
            </p:extLst>
          </p:nvPr>
        </p:nvGraphicFramePr>
        <p:xfrm>
          <a:off x="724246" y="1984083"/>
          <a:ext cx="11321110" cy="5647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821B4EE4-0AEF-4A2A-BF12-28C50E53BB1A}"/>
              </a:ext>
            </a:extLst>
          </p:cNvPr>
          <p:cNvSpPr/>
          <p:nvPr/>
        </p:nvSpPr>
        <p:spPr>
          <a:xfrm>
            <a:off x="724246" y="1556890"/>
            <a:ext cx="203132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Customer Care</a:t>
            </a:r>
          </a:p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 de Exportaciones</a:t>
            </a:r>
          </a:p>
        </p:txBody>
      </p:sp>
      <p:sp>
        <p:nvSpPr>
          <p:cNvPr id="76" name="Rectángulo 7">
            <a:extLst>
              <a:ext uri="{FF2B5EF4-FFF2-40B4-BE49-F238E27FC236}">
                <a16:creationId xmlns:a16="http://schemas.microsoft.com/office/drawing/2014/main" id="{4C666AFC-5CA2-422A-AE79-06496AB1033E}"/>
              </a:ext>
            </a:extLst>
          </p:cNvPr>
          <p:cNvSpPr/>
          <p:nvPr/>
        </p:nvSpPr>
        <p:spPr>
          <a:xfrm>
            <a:off x="3709230" y="1330508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8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B57FD6F-D4C3-4AAD-B77B-6CB1C3E22EA6}"/>
              </a:ext>
            </a:extLst>
          </p:cNvPr>
          <p:cNvSpPr/>
          <p:nvPr/>
        </p:nvSpPr>
        <p:spPr>
          <a:xfrm>
            <a:off x="3216538" y="1578660"/>
            <a:ext cx="150554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Jefa de </a:t>
            </a:r>
          </a:p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Procurement</a:t>
            </a:r>
          </a:p>
        </p:txBody>
      </p:sp>
      <p:sp>
        <p:nvSpPr>
          <p:cNvPr id="78" name="Rectángulo 7">
            <a:extLst>
              <a:ext uri="{FF2B5EF4-FFF2-40B4-BE49-F238E27FC236}">
                <a16:creationId xmlns:a16="http://schemas.microsoft.com/office/drawing/2014/main" id="{E394BFF5-3EB3-4481-8DD0-F3CC986FCA0C}"/>
              </a:ext>
            </a:extLst>
          </p:cNvPr>
          <p:cNvSpPr/>
          <p:nvPr/>
        </p:nvSpPr>
        <p:spPr>
          <a:xfrm>
            <a:off x="5904945" y="1330507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9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78EC46F-E29F-4B3B-900A-9853BE3AB6DC}"/>
              </a:ext>
            </a:extLst>
          </p:cNvPr>
          <p:cNvSpPr/>
          <p:nvPr/>
        </p:nvSpPr>
        <p:spPr>
          <a:xfrm>
            <a:off x="5161747" y="1591723"/>
            <a:ext cx="208262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Jefe de </a:t>
            </a:r>
          </a:p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Customer Service </a:t>
            </a:r>
          </a:p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KCP</a:t>
            </a:r>
          </a:p>
        </p:txBody>
      </p:sp>
      <p:sp>
        <p:nvSpPr>
          <p:cNvPr id="80" name="Rectángulo 7">
            <a:extLst>
              <a:ext uri="{FF2B5EF4-FFF2-40B4-BE49-F238E27FC236}">
                <a16:creationId xmlns:a16="http://schemas.microsoft.com/office/drawing/2014/main" id="{AEF879EB-5754-4E6E-9570-1EAD9E24269C}"/>
              </a:ext>
            </a:extLst>
          </p:cNvPr>
          <p:cNvSpPr/>
          <p:nvPr/>
        </p:nvSpPr>
        <p:spPr>
          <a:xfrm>
            <a:off x="7863655" y="1396671"/>
            <a:ext cx="5160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1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E89EDF6-92B0-406C-AA48-B6B6353F71B5}"/>
              </a:ext>
            </a:extLst>
          </p:cNvPr>
          <p:cNvSpPr/>
          <p:nvPr/>
        </p:nvSpPr>
        <p:spPr>
          <a:xfrm>
            <a:off x="7281251" y="1617849"/>
            <a:ext cx="173637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Jefa de </a:t>
            </a:r>
          </a:p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Distribución SL</a:t>
            </a:r>
          </a:p>
        </p:txBody>
      </p:sp>
      <p:sp>
        <p:nvSpPr>
          <p:cNvPr id="82" name="Rectángulo 7">
            <a:extLst>
              <a:ext uri="{FF2B5EF4-FFF2-40B4-BE49-F238E27FC236}">
                <a16:creationId xmlns:a16="http://schemas.microsoft.com/office/drawing/2014/main" id="{A8DE4583-A941-48AB-9A6A-C9B91C36A319}"/>
              </a:ext>
            </a:extLst>
          </p:cNvPr>
          <p:cNvSpPr/>
          <p:nvPr/>
        </p:nvSpPr>
        <p:spPr>
          <a:xfrm>
            <a:off x="9738833" y="1370598"/>
            <a:ext cx="5245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8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70A5354-1548-4E86-B902-710C84C383CD}"/>
              </a:ext>
            </a:extLst>
          </p:cNvPr>
          <p:cNvSpPr/>
          <p:nvPr/>
        </p:nvSpPr>
        <p:spPr>
          <a:xfrm>
            <a:off x="9207188" y="1604786"/>
            <a:ext cx="164660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LAO</a:t>
            </a:r>
          </a:p>
          <a:p>
            <a:pPr lvl="0" algn="ctr">
              <a:defRPr/>
            </a:pPr>
            <a:r>
              <a:rPr lang="es-AR" dirty="0">
                <a:solidFill>
                  <a:srgbClr val="10069F"/>
                </a:solidFill>
                <a:latin typeface="Arial" panose="020B0604020202020204"/>
              </a:rPr>
              <a:t>Logistics COE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CD336D34-2CA1-499A-86C8-529458C7A205}"/>
              </a:ext>
            </a:extLst>
          </p:cNvPr>
          <p:cNvSpPr/>
          <p:nvPr/>
        </p:nvSpPr>
        <p:spPr>
          <a:xfrm>
            <a:off x="9641083" y="2543533"/>
            <a:ext cx="720002" cy="72000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4C9F9BE-B969-441C-82D9-F4B35A5E2DB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119888" y="3803359"/>
            <a:ext cx="2453242" cy="1766334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F3F9CF2E-1256-4487-A138-E033C21D1DD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71994" y="3776795"/>
            <a:ext cx="3182153" cy="1712430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D9F283B7-BB40-48C5-90A6-38EB6B2D72A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017625" y="3573948"/>
            <a:ext cx="2751144" cy="1461931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14768BE7-53EA-45C6-8BAD-77300290B36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836543" y="3600021"/>
            <a:ext cx="1967456" cy="1620610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35FA316C-F051-4169-9BC2-ED336972BA0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397968" y="4895088"/>
            <a:ext cx="2923862" cy="1461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963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pic>
        <p:nvPicPr>
          <p:cNvPr id="25" name="Imagen 5">
            <a:extLst>
              <a:ext uri="{FF2B5EF4-FFF2-40B4-BE49-F238E27FC236}">
                <a16:creationId xmlns:a16="http://schemas.microsoft.com/office/drawing/2014/main" id="{F6C892E7-100F-4458-8021-1CEE1AA7C3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23" y="1980453"/>
            <a:ext cx="1887924" cy="3662572"/>
          </a:xfrm>
          <a:prstGeom prst="rect">
            <a:avLst/>
          </a:prstGeom>
        </p:spPr>
      </p:pic>
      <p:pic>
        <p:nvPicPr>
          <p:cNvPr id="26" name="Graphic 25" descr="Marker">
            <a:extLst>
              <a:ext uri="{FF2B5EF4-FFF2-40B4-BE49-F238E27FC236}">
                <a16:creationId xmlns:a16="http://schemas.microsoft.com/office/drawing/2014/main" id="{5752DA3D-4750-4CC3-A6D7-24B06E56386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89552" y="2990500"/>
            <a:ext cx="438500" cy="438500"/>
          </a:xfrm>
          <a:prstGeom prst="rect">
            <a:avLst/>
          </a:prstGeom>
        </p:spPr>
      </p:pic>
      <p:pic>
        <p:nvPicPr>
          <p:cNvPr id="27" name="Gráfico 57" descr="Sudamérica">
            <a:extLst>
              <a:ext uri="{FF2B5EF4-FFF2-40B4-BE49-F238E27FC236}">
                <a16:creationId xmlns:a16="http://schemas.microsoft.com/office/drawing/2014/main" id="{8B1FB8BF-E2CD-4DE2-8382-7C6BF3E3FA5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690657" y="1823984"/>
            <a:ext cx="5388432" cy="4255951"/>
          </a:xfrm>
          <a:prstGeom prst="rect">
            <a:avLst/>
          </a:prstGeom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9B34B22F-2C9F-4D10-9D36-FBCF4254AD05}"/>
              </a:ext>
            </a:extLst>
          </p:cNvPr>
          <p:cNvSpPr/>
          <p:nvPr/>
        </p:nvSpPr>
        <p:spPr>
          <a:xfrm>
            <a:off x="2549140" y="3504887"/>
            <a:ext cx="1296365" cy="821803"/>
          </a:xfrm>
          <a:prstGeom prst="rightArrow">
            <a:avLst/>
          </a:prstGeom>
          <a:solidFill>
            <a:srgbClr val="FE5CB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5350">
              <a:buClr>
                <a:prstClr val="white"/>
              </a:buClr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Gulim" panose="020B0600000101010101" pitchFamily="34" charset="-12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593254-F5BE-42DE-98BC-EC85CF5DBD0A}"/>
              </a:ext>
            </a:extLst>
          </p:cNvPr>
          <p:cNvSpPr/>
          <p:nvPr/>
        </p:nvSpPr>
        <p:spPr>
          <a:xfrm>
            <a:off x="4014497" y="2753408"/>
            <a:ext cx="2965021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37E2"/>
              </a:buClr>
              <a:buSzTx/>
              <a:tabLst/>
              <a:defRPr/>
            </a:pPr>
            <a:r>
              <a:rPr lang="en-US" altLang="ko-KR" sz="1440" b="1" dirty="0">
                <a:solidFill>
                  <a:srgbClr val="FF008A"/>
                </a:solidFill>
                <a:latin typeface="Gilroy Light" panose="00000400000000000000" pitchFamily="50" charset="0"/>
              </a:rPr>
              <a:t> - New THINKING</a:t>
            </a:r>
          </a:p>
          <a:p>
            <a:pPr marR="0" lvl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37E2"/>
              </a:buClr>
              <a:buSzTx/>
              <a:tabLst/>
              <a:defRPr/>
            </a:pPr>
            <a:r>
              <a:rPr lang="en-US" altLang="ko-KR" sz="1440" b="1" dirty="0">
                <a:solidFill>
                  <a:srgbClr val="FF008A"/>
                </a:solidFill>
                <a:latin typeface="Gilroy Light" panose="00000400000000000000" pitchFamily="50" charset="0"/>
              </a:rPr>
              <a:t>    - IDEAS to Standardize &amp; Growth</a:t>
            </a:r>
          </a:p>
          <a:p>
            <a:pPr marR="0" lvl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37E2"/>
              </a:buClr>
              <a:buSzTx/>
              <a:tabLst/>
              <a:defRPr/>
            </a:pPr>
            <a:r>
              <a:rPr lang="en-US" altLang="ko-KR" sz="1440" b="1" dirty="0">
                <a:solidFill>
                  <a:srgbClr val="FF008A"/>
                </a:solidFill>
                <a:latin typeface="Gilroy Light" panose="00000400000000000000" pitchFamily="50" charset="0"/>
              </a:rPr>
              <a:t>     -  Multifunctional TEAMS</a:t>
            </a:r>
          </a:p>
          <a:p>
            <a:pPr marR="0" lvl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937E2"/>
              </a:buClr>
              <a:buSzTx/>
              <a:tabLst/>
              <a:defRPr/>
            </a:pPr>
            <a:r>
              <a:rPr lang="en-US" altLang="ko-KR" sz="1440" b="1" dirty="0">
                <a:solidFill>
                  <a:srgbClr val="FF008A"/>
                </a:solidFill>
                <a:latin typeface="Gilroy Light" panose="00000400000000000000" pitchFamily="50" charset="0"/>
              </a:rPr>
              <a:t>            - TRUST Build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81AF80-B120-4534-B4B0-B0DF7AF2A02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027495"/>
            <a:ext cx="12192000" cy="903777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766D4B93-FFC5-450C-A086-9CC767A21A76}"/>
              </a:ext>
            </a:extLst>
          </p:cNvPr>
          <p:cNvSpPr txBox="1">
            <a:spLocks/>
          </p:cNvSpPr>
          <p:nvPr/>
        </p:nvSpPr>
        <p:spPr>
          <a:xfrm>
            <a:off x="157216" y="114996"/>
            <a:ext cx="9323475" cy="673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>
              <a:defRPr/>
            </a:pPr>
            <a:r>
              <a:rPr lang="es-AR" sz="4000" dirty="0">
                <a:latin typeface="Arial" panose="020B0604020202020204"/>
              </a:rPr>
              <a:t>Motivaciones en mi rol actual</a:t>
            </a:r>
          </a:p>
        </p:txBody>
      </p:sp>
      <p:sp>
        <p:nvSpPr>
          <p:cNvPr id="28" name="Rectángulo 15">
            <a:extLst>
              <a:ext uri="{FF2B5EF4-FFF2-40B4-BE49-F238E27FC236}">
                <a16:creationId xmlns:a16="http://schemas.microsoft.com/office/drawing/2014/main" id="{19255012-C284-4E50-89B8-E899DDFE4A2B}"/>
              </a:ext>
            </a:extLst>
          </p:cNvPr>
          <p:cNvSpPr/>
          <p:nvPr/>
        </p:nvSpPr>
        <p:spPr>
          <a:xfrm>
            <a:off x="211917" y="1132136"/>
            <a:ext cx="2655891" cy="673448"/>
          </a:xfrm>
          <a:prstGeom prst="rect">
            <a:avLst/>
          </a:prstGeom>
          <a:solidFill>
            <a:srgbClr val="FE5CB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95350">
              <a:buClr>
                <a:prstClr val="white"/>
              </a:buClr>
              <a:defRPr/>
            </a:pPr>
            <a:r>
              <a:rPr lang="en-US" altLang="ko-KR" sz="2000" b="1" dirty="0">
                <a:solidFill>
                  <a:prstClr val="white"/>
                </a:solidFill>
                <a:latin typeface="Arial" panose="020B0604020202020204" pitchFamily="34" charset="0"/>
                <a:ea typeface="Gulim" panose="020B0600000101010101" pitchFamily="34" charset="-127"/>
              </a:rPr>
              <a:t>San Luis</a:t>
            </a:r>
          </a:p>
          <a:p>
            <a:pPr lvl="0" algn="ctr" defTabSz="895350">
              <a:buClr>
                <a:prstClr val="white"/>
              </a:buClr>
              <a:defRPr/>
            </a:pPr>
            <a:r>
              <a:rPr lang="en-US" altLang="ko-KR" sz="2000" b="1" dirty="0">
                <a:solidFill>
                  <a:prstClr val="white"/>
                </a:solidFill>
                <a:latin typeface="Arial" panose="020B0604020202020204" pitchFamily="34" charset="0"/>
                <a:ea typeface="Gulim" panose="020B0600000101010101" pitchFamily="34" charset="-127"/>
              </a:rPr>
              <a:t> Operation</a:t>
            </a:r>
          </a:p>
        </p:txBody>
      </p:sp>
      <p:pic>
        <p:nvPicPr>
          <p:cNvPr id="29" name="Graphic 28" descr="Social network">
            <a:extLst>
              <a:ext uri="{FF2B5EF4-FFF2-40B4-BE49-F238E27FC236}">
                <a16:creationId xmlns:a16="http://schemas.microsoft.com/office/drawing/2014/main" id="{A478C224-5075-4CA8-B66E-A0BBC61CD341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39923" y="1266332"/>
            <a:ext cx="435428" cy="435428"/>
          </a:xfrm>
          <a:prstGeom prst="rect">
            <a:avLst/>
          </a:prstGeom>
        </p:spPr>
      </p:pic>
      <p:sp>
        <p:nvSpPr>
          <p:cNvPr id="30" name="Rectángulo 15">
            <a:extLst>
              <a:ext uri="{FF2B5EF4-FFF2-40B4-BE49-F238E27FC236}">
                <a16:creationId xmlns:a16="http://schemas.microsoft.com/office/drawing/2014/main" id="{21EDF827-5AAD-4F3E-9613-8EDB5A0A19BD}"/>
              </a:ext>
            </a:extLst>
          </p:cNvPr>
          <p:cNvSpPr/>
          <p:nvPr/>
        </p:nvSpPr>
        <p:spPr>
          <a:xfrm>
            <a:off x="3847115" y="1139041"/>
            <a:ext cx="6947976" cy="673448"/>
          </a:xfrm>
          <a:prstGeom prst="rect">
            <a:avLst/>
          </a:prstGeom>
          <a:solidFill>
            <a:srgbClr val="FE5CB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95350">
              <a:buClr>
                <a:prstClr val="white"/>
              </a:buClr>
              <a:defRPr/>
            </a:pPr>
            <a:r>
              <a:rPr lang="en-US" altLang="ko-KR" sz="2000" b="1" dirty="0">
                <a:solidFill>
                  <a:prstClr val="white"/>
                </a:solidFill>
                <a:latin typeface="Arial" panose="020B0604020202020204" pitchFamily="34" charset="0"/>
                <a:ea typeface="Gulim" panose="020B0600000101010101" pitchFamily="34" charset="-127"/>
              </a:rPr>
              <a:t>LAO Operation</a:t>
            </a:r>
            <a:endParaRPr lang="en-US" altLang="ko-KR" sz="2000" dirty="0">
              <a:solidFill>
                <a:prstClr val="white"/>
              </a:solidFill>
              <a:latin typeface="Arial" panose="020B0604020202020204" pitchFamily="34" charset="0"/>
              <a:ea typeface="Gulim" panose="020B0600000101010101" pitchFamily="34" charset="-127"/>
            </a:endParaRPr>
          </a:p>
        </p:txBody>
      </p:sp>
      <p:pic>
        <p:nvPicPr>
          <p:cNvPr id="36" name="Graphic 35" descr="Chess pieces">
            <a:extLst>
              <a:ext uri="{FF2B5EF4-FFF2-40B4-BE49-F238E27FC236}">
                <a16:creationId xmlns:a16="http://schemas.microsoft.com/office/drawing/2014/main" id="{03F6AAE4-2FE2-46BA-B347-2C35FA47BB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46939" y="1232452"/>
            <a:ext cx="498121" cy="498121"/>
          </a:xfrm>
          <a:prstGeom prst="rect">
            <a:avLst/>
          </a:prstGeom>
        </p:spPr>
      </p:pic>
      <p:graphicFrame>
        <p:nvGraphicFramePr>
          <p:cNvPr id="39" name="Diagram 38">
            <a:extLst>
              <a:ext uri="{FF2B5EF4-FFF2-40B4-BE49-F238E27FC236}">
                <a16:creationId xmlns:a16="http://schemas.microsoft.com/office/drawing/2014/main" id="{6E99DC3F-9D72-4785-A28F-5AF55F6309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3340951"/>
              </p:ext>
            </p:extLst>
          </p:nvPr>
        </p:nvGraphicFramePr>
        <p:xfrm>
          <a:off x="8940653" y="2290773"/>
          <a:ext cx="2937835" cy="3544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0" r:lo="rId21" r:qs="rId22" r:cs="rId23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0CE922C2-6BB2-41C3-8171-0953CA0729CB}"/>
              </a:ext>
            </a:extLst>
          </p:cNvPr>
          <p:cNvSpPr/>
          <p:nvPr/>
        </p:nvSpPr>
        <p:spPr>
          <a:xfrm>
            <a:off x="8749282" y="1963823"/>
            <a:ext cx="18365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400" b="1" u="sng" dirty="0">
                <a:solidFill>
                  <a:srgbClr val="7030A0"/>
                </a:solidFill>
              </a:rPr>
              <a:t>Stakeholders</a:t>
            </a:r>
          </a:p>
        </p:txBody>
      </p:sp>
      <p:sp>
        <p:nvSpPr>
          <p:cNvPr id="46" name="Rectángulo: esquinas redondeadas 27">
            <a:extLst>
              <a:ext uri="{FF2B5EF4-FFF2-40B4-BE49-F238E27FC236}">
                <a16:creationId xmlns:a16="http://schemas.microsoft.com/office/drawing/2014/main" id="{5CBCA51B-E2F2-46D2-97C7-F3955022F526}"/>
              </a:ext>
            </a:extLst>
          </p:cNvPr>
          <p:cNvSpPr/>
          <p:nvPr/>
        </p:nvSpPr>
        <p:spPr>
          <a:xfrm>
            <a:off x="7093318" y="2157239"/>
            <a:ext cx="1542642" cy="3678021"/>
          </a:xfrm>
          <a:prstGeom prst="roundRect">
            <a:avLst/>
          </a:prstGeom>
          <a:solidFill>
            <a:srgbClr val="FE5CB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5350">
              <a:buClr>
                <a:prstClr val="white"/>
              </a:buClr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Gulim" panose="020B0600000101010101" pitchFamily="34" charset="-127"/>
            </a:endParaRPr>
          </a:p>
        </p:txBody>
      </p:sp>
      <p:pic>
        <p:nvPicPr>
          <p:cNvPr id="47" name="Gráfico 28" descr="Cabeza con engranajes">
            <a:extLst>
              <a:ext uri="{FF2B5EF4-FFF2-40B4-BE49-F238E27FC236}">
                <a16:creationId xmlns:a16="http://schemas.microsoft.com/office/drawing/2014/main" id="{15F63B13-FCA9-48BA-AB95-724753737A8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203341" y="3282891"/>
            <a:ext cx="1375809" cy="1375809"/>
          </a:xfrm>
          <a:prstGeom prst="rect">
            <a:avLst/>
          </a:prstGeom>
        </p:spPr>
      </p:pic>
      <p:sp>
        <p:nvSpPr>
          <p:cNvPr id="48" name="Rectángulo 29">
            <a:extLst>
              <a:ext uri="{FF2B5EF4-FFF2-40B4-BE49-F238E27FC236}">
                <a16:creationId xmlns:a16="http://schemas.microsoft.com/office/drawing/2014/main" id="{EE3303C5-93F7-4CD3-9FA7-85904A434382}"/>
              </a:ext>
            </a:extLst>
          </p:cNvPr>
          <p:cNvSpPr/>
          <p:nvPr/>
        </p:nvSpPr>
        <p:spPr>
          <a:xfrm>
            <a:off x="7217491" y="4823533"/>
            <a:ext cx="1216235" cy="646331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OPEX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Mindse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49" name="Rectángulo 29">
            <a:extLst>
              <a:ext uri="{FF2B5EF4-FFF2-40B4-BE49-F238E27FC236}">
                <a16:creationId xmlns:a16="http://schemas.microsoft.com/office/drawing/2014/main" id="{A71536AE-1F0F-4543-87F0-041A2D4C4416}"/>
              </a:ext>
            </a:extLst>
          </p:cNvPr>
          <p:cNvSpPr/>
          <p:nvPr/>
        </p:nvSpPr>
        <p:spPr>
          <a:xfrm>
            <a:off x="7217491" y="2333752"/>
            <a:ext cx="1216235" cy="646331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LAO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CO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37029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A81AF80-B120-4534-B4B0-B0DF7AF2A0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6027495"/>
            <a:ext cx="12192000" cy="903777"/>
          </a:xfrm>
          <a:prstGeom prst="rect">
            <a:avLst/>
          </a:prstGeom>
        </p:spPr>
      </p:pic>
      <p:sp>
        <p:nvSpPr>
          <p:cNvPr id="23" name="Título 1">
            <a:extLst>
              <a:ext uri="{FF2B5EF4-FFF2-40B4-BE49-F238E27FC236}">
                <a16:creationId xmlns:a16="http://schemas.microsoft.com/office/drawing/2014/main" id="{766D4B93-FFC5-450C-A086-9CC767A21A76}"/>
              </a:ext>
            </a:extLst>
          </p:cNvPr>
          <p:cNvSpPr txBox="1">
            <a:spLocks/>
          </p:cNvSpPr>
          <p:nvPr/>
        </p:nvSpPr>
        <p:spPr>
          <a:xfrm>
            <a:off x="157216" y="114996"/>
            <a:ext cx="11912864" cy="673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>
              <a:defRPr/>
            </a:pPr>
            <a:r>
              <a:rPr lang="es-AR" sz="4000" dirty="0">
                <a:latin typeface="Arial" panose="020B0604020202020204"/>
              </a:rPr>
              <a:t>Aspiraciones profesionales</a:t>
            </a:r>
          </a:p>
        </p:txBody>
      </p:sp>
      <p:pic>
        <p:nvPicPr>
          <p:cNvPr id="36" name="Graphic 35" descr="Chess pieces">
            <a:extLst>
              <a:ext uri="{FF2B5EF4-FFF2-40B4-BE49-F238E27FC236}">
                <a16:creationId xmlns:a16="http://schemas.microsoft.com/office/drawing/2014/main" id="{03F6AAE4-2FE2-46BA-B347-2C35FA47BB1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77569" y="2146854"/>
            <a:ext cx="498121" cy="498121"/>
          </a:xfrm>
          <a:prstGeom prst="rect">
            <a:avLst/>
          </a:prstGeom>
        </p:spPr>
      </p:pic>
      <p:sp>
        <p:nvSpPr>
          <p:cNvPr id="44" name="Speech Bubble: Rectangle 57">
            <a:extLst>
              <a:ext uri="{FF2B5EF4-FFF2-40B4-BE49-F238E27FC236}">
                <a16:creationId xmlns:a16="http://schemas.microsoft.com/office/drawing/2014/main" id="{64CD8238-85D1-4A76-B393-450A8347D8EC}"/>
              </a:ext>
            </a:extLst>
          </p:cNvPr>
          <p:cNvSpPr/>
          <p:nvPr/>
        </p:nvSpPr>
        <p:spPr>
          <a:xfrm>
            <a:off x="243784" y="3475077"/>
            <a:ext cx="2379669" cy="807364"/>
          </a:xfrm>
          <a:prstGeom prst="wedgeRectCallout">
            <a:avLst>
              <a:gd name="adj1" fmla="val -20833"/>
              <a:gd name="adj2" fmla="val 25141"/>
            </a:avLst>
          </a:prstGeom>
          <a:gradFill rotWithShape="1">
            <a:gsLst>
              <a:gs pos="0">
                <a:srgbClr val="10069F">
                  <a:satMod val="103000"/>
                  <a:lumMod val="102000"/>
                  <a:tint val="94000"/>
                </a:srgbClr>
              </a:gs>
              <a:gs pos="50000">
                <a:srgbClr val="10069F">
                  <a:satMod val="110000"/>
                  <a:lumMod val="100000"/>
                  <a:shade val="100000"/>
                </a:srgbClr>
              </a:gs>
              <a:gs pos="100000">
                <a:srgbClr val="10069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457200">
              <a:defRPr/>
            </a:pP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rando</a:t>
            </a:r>
          </a:p>
          <a:p>
            <a:pPr lvl="0" algn="ctr" defTabSz="457200">
              <a:defRPr/>
            </a:pPr>
            <a:r>
              <a:rPr lang="es-AR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iciencia</a:t>
            </a:r>
            <a:endParaRPr kumimoji="0" lang="es-AR" sz="1800" b="1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Rectangle 19">
            <a:extLst>
              <a:ext uri="{FF2B5EF4-FFF2-40B4-BE49-F238E27FC236}">
                <a16:creationId xmlns:a16="http://schemas.microsoft.com/office/drawing/2014/main" id="{7619215B-9C3D-4855-91DC-66298B509826}"/>
              </a:ext>
            </a:extLst>
          </p:cNvPr>
          <p:cNvSpPr/>
          <p:nvPr/>
        </p:nvSpPr>
        <p:spPr>
          <a:xfrm>
            <a:off x="2716673" y="3536207"/>
            <a:ext cx="8439007" cy="218243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Me gustaría aprovechar mi amplia experiencia en temas relacionados con Distribución Customer Service /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curement</a:t>
            </a: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 / Transporte, para poder liderar y desarrollar equipos eficientes enfocados en resultados y objetivos desafiantes que beneficien y generen una mejora continua para KC. Más específicamente, </a:t>
            </a:r>
            <a:r>
              <a:rPr lang="es-AR" b="1" dirty="0">
                <a:solidFill>
                  <a:srgbClr val="1755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piro a un puesto de mayor responsabilidad</a:t>
            </a: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, colaborando con la implementación de los programas de estandarización, colaboración y simplificación que está ejecutando KC.</a:t>
            </a:r>
          </a:p>
        </p:txBody>
      </p:sp>
      <p:pic>
        <p:nvPicPr>
          <p:cNvPr id="50" name="Picture 6">
            <a:extLst>
              <a:ext uri="{FF2B5EF4-FFF2-40B4-BE49-F238E27FC236}">
                <a16:creationId xmlns:a16="http://schemas.microsoft.com/office/drawing/2014/main" id="{36C76E4A-FCA2-424D-BB42-9241E510B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05" y="894492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7">
            <a:extLst>
              <a:ext uri="{FF2B5EF4-FFF2-40B4-BE49-F238E27FC236}">
                <a16:creationId xmlns:a16="http://schemas.microsoft.com/office/drawing/2014/main" id="{D74FF950-B44D-47DA-B255-8ABE89345E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05" y="187484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Speech Bubble: Rectangle 57">
            <a:extLst>
              <a:ext uri="{FF2B5EF4-FFF2-40B4-BE49-F238E27FC236}">
                <a16:creationId xmlns:a16="http://schemas.microsoft.com/office/drawing/2014/main" id="{84234F1F-D2E8-43B6-B1F7-8BB3C4FA7ECF}"/>
              </a:ext>
            </a:extLst>
          </p:cNvPr>
          <p:cNvSpPr/>
          <p:nvPr/>
        </p:nvSpPr>
        <p:spPr>
          <a:xfrm>
            <a:off x="243784" y="1400849"/>
            <a:ext cx="2379669" cy="807364"/>
          </a:xfrm>
          <a:prstGeom prst="wedgeRectCallout">
            <a:avLst>
              <a:gd name="adj1" fmla="val -20833"/>
              <a:gd name="adj2" fmla="val 25141"/>
            </a:avLst>
          </a:prstGeom>
          <a:gradFill rotWithShape="1">
            <a:gsLst>
              <a:gs pos="0">
                <a:srgbClr val="10069F">
                  <a:satMod val="103000"/>
                  <a:lumMod val="102000"/>
                  <a:tint val="94000"/>
                </a:srgbClr>
              </a:gs>
              <a:gs pos="50000">
                <a:srgbClr val="10069F">
                  <a:satMod val="110000"/>
                  <a:lumMod val="100000"/>
                  <a:shade val="100000"/>
                </a:srgbClr>
              </a:gs>
              <a:gs pos="100000">
                <a:srgbClr val="10069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457200">
              <a:defRPr/>
            </a:pPr>
            <a:r>
              <a:rPr lang="es-AR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zas</a:t>
            </a:r>
            <a:r>
              <a:rPr lang="en-US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</a:t>
            </a:r>
            <a:r>
              <a:rPr lang="es-AR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ovechar</a:t>
            </a:r>
          </a:p>
        </p:txBody>
      </p:sp>
      <p:sp>
        <p:nvSpPr>
          <p:cNvPr id="55" name="Rectangle 19">
            <a:extLst>
              <a:ext uri="{FF2B5EF4-FFF2-40B4-BE49-F238E27FC236}">
                <a16:creationId xmlns:a16="http://schemas.microsoft.com/office/drawing/2014/main" id="{30E20881-14C4-4D8C-87D9-B1EDF1D2F45D}"/>
              </a:ext>
            </a:extLst>
          </p:cNvPr>
          <p:cNvSpPr/>
          <p:nvPr/>
        </p:nvSpPr>
        <p:spPr>
          <a:xfrm>
            <a:off x="2716674" y="1400849"/>
            <a:ext cx="8883145" cy="17543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Tener conocimientos de </a:t>
            </a:r>
            <a:r>
              <a:rPr lang="es-AR" b="1" dirty="0">
                <a:solidFill>
                  <a:srgbClr val="1755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ción, formación y desarrollo de equipos </a:t>
            </a: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motivados, desarrollando talento para alcanzar nuevos ret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Relaciones de </a:t>
            </a:r>
            <a:r>
              <a:rPr lang="es-AR" b="1" dirty="0">
                <a:solidFill>
                  <a:srgbClr val="1755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bajo multifuncionales y diversidad </a:t>
            </a: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de pensamient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b="1" dirty="0">
                <a:solidFill>
                  <a:srgbClr val="1755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il orientado al cumplimiento de objetivos </a:t>
            </a: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desafian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Amplio conocimiento de la compañía y la </a:t>
            </a:r>
            <a:r>
              <a:rPr lang="es-AR" b="1" dirty="0">
                <a:solidFill>
                  <a:srgbClr val="1755D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forma correcta” de hacer las cosas</a:t>
            </a:r>
            <a:r>
              <a:rPr lang="es-AR" dirty="0">
                <a:latin typeface="Arial" panose="020B0604020202020204" pitchFamily="34" charset="0"/>
                <a:cs typeface="Arial" panose="020B0604020202020204" pitchFamily="34" charset="0"/>
              </a:rPr>
              <a:t> en KC (complianc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5612FF-E547-4393-91FF-22CACCCE7A16}"/>
              </a:ext>
            </a:extLst>
          </p:cNvPr>
          <p:cNvSpPr/>
          <p:nvPr/>
        </p:nvSpPr>
        <p:spPr>
          <a:xfrm>
            <a:off x="157216" y="632981"/>
            <a:ext cx="26698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es-AR" sz="2400" b="1" dirty="0">
                <a:solidFill>
                  <a:srgbClr val="10069F"/>
                </a:solidFill>
              </a:rPr>
              <a:t>Where I Want to go</a:t>
            </a:r>
          </a:p>
        </p:txBody>
      </p:sp>
    </p:spTree>
    <p:extLst>
      <p:ext uri="{BB962C8B-B14F-4D97-AF65-F5344CB8AC3E}">
        <p14:creationId xmlns:p14="http://schemas.microsoft.com/office/powerpoint/2010/main" val="27105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B17508-80BA-494E-BE3C-734686E198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72" y="147833"/>
            <a:ext cx="12168190" cy="6858000"/>
          </a:xfrm>
          <a:prstGeom prst="rect">
            <a:avLst/>
          </a:prstGeom>
        </p:spPr>
      </p:pic>
      <p:sp>
        <p:nvSpPr>
          <p:cNvPr id="13" name="Speech Bubble: Rectangle 57">
            <a:extLst>
              <a:ext uri="{FF2B5EF4-FFF2-40B4-BE49-F238E27FC236}">
                <a16:creationId xmlns:a16="http://schemas.microsoft.com/office/drawing/2014/main" id="{E5E97DB7-8341-4131-AB74-035E6AB6BBD0}"/>
              </a:ext>
            </a:extLst>
          </p:cNvPr>
          <p:cNvSpPr/>
          <p:nvPr/>
        </p:nvSpPr>
        <p:spPr>
          <a:xfrm>
            <a:off x="120462" y="931621"/>
            <a:ext cx="2379669" cy="807364"/>
          </a:xfrm>
          <a:prstGeom prst="wedgeRectCallout">
            <a:avLst>
              <a:gd name="adj1" fmla="val -20833"/>
              <a:gd name="adj2" fmla="val 25141"/>
            </a:avLst>
          </a:prstGeom>
          <a:gradFill rotWithShape="1">
            <a:gsLst>
              <a:gs pos="0">
                <a:srgbClr val="10069F">
                  <a:satMod val="103000"/>
                  <a:lumMod val="102000"/>
                  <a:tint val="94000"/>
                </a:srgbClr>
              </a:gs>
              <a:gs pos="50000">
                <a:srgbClr val="10069F">
                  <a:satMod val="110000"/>
                  <a:lumMod val="100000"/>
                  <a:shade val="100000"/>
                </a:srgbClr>
              </a:gs>
              <a:gs pos="100000">
                <a:srgbClr val="10069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elopment Focus</a:t>
            </a: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018DD8BC-4D95-47D9-9773-DA9BC4B7821B}"/>
              </a:ext>
            </a:extLst>
          </p:cNvPr>
          <p:cNvSpPr/>
          <p:nvPr/>
        </p:nvSpPr>
        <p:spPr>
          <a:xfrm>
            <a:off x="2511705" y="931621"/>
            <a:ext cx="7873265" cy="8073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Construir Networking 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interna (globales y regionales) y continuar trabajando e </a:t>
            </a: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influyendo en las audiencias 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de diversos equipos en LAO</a:t>
            </a:r>
          </a:p>
        </p:txBody>
      </p:sp>
      <p:sp>
        <p:nvSpPr>
          <p:cNvPr id="15" name="Speech Bubble: Rectangle 57">
            <a:extLst>
              <a:ext uri="{FF2B5EF4-FFF2-40B4-BE49-F238E27FC236}">
                <a16:creationId xmlns:a16="http://schemas.microsoft.com/office/drawing/2014/main" id="{A243EC9A-73A4-4C9E-A090-859995141848}"/>
              </a:ext>
            </a:extLst>
          </p:cNvPr>
          <p:cNvSpPr/>
          <p:nvPr/>
        </p:nvSpPr>
        <p:spPr>
          <a:xfrm>
            <a:off x="1583496" y="2344783"/>
            <a:ext cx="2379669" cy="442670"/>
          </a:xfrm>
          <a:prstGeom prst="wedgeRectCallout">
            <a:avLst>
              <a:gd name="adj1" fmla="val -20833"/>
              <a:gd name="adj2" fmla="val 25141"/>
            </a:avLst>
          </a:prstGeom>
          <a:gradFill rotWithShape="1">
            <a:gsLst>
              <a:gs pos="0">
                <a:srgbClr val="10069F">
                  <a:satMod val="103000"/>
                  <a:lumMod val="102000"/>
                  <a:tint val="94000"/>
                </a:srgbClr>
              </a:gs>
              <a:gs pos="50000">
                <a:srgbClr val="10069F">
                  <a:satMod val="110000"/>
                  <a:lumMod val="100000"/>
                  <a:shade val="100000"/>
                </a:srgbClr>
              </a:gs>
              <a:gs pos="100000">
                <a:srgbClr val="10069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ills to Develop</a:t>
            </a: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DA9AD997-C62A-4083-A1FE-9613B7609E19}"/>
              </a:ext>
            </a:extLst>
          </p:cNvPr>
          <p:cNvSpPr/>
          <p:nvPr/>
        </p:nvSpPr>
        <p:spPr>
          <a:xfrm>
            <a:off x="448867" y="2819187"/>
            <a:ext cx="4868812" cy="25104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Continuar </a:t>
            </a: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progresando con el inglés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, profundizar mis conocimientos básicos de portugué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Ampliar y desarrollar mis relaciones con el equipo Global,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 demostrando mi compromiso a largo plazo en la organizació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Desarrollar habilidades técnicas que me permitan tomar decisiones correctas.</a:t>
            </a:r>
          </a:p>
        </p:txBody>
      </p:sp>
      <p:sp>
        <p:nvSpPr>
          <p:cNvPr id="17" name="Speech Bubble: Rectangle 57">
            <a:extLst>
              <a:ext uri="{FF2B5EF4-FFF2-40B4-BE49-F238E27FC236}">
                <a16:creationId xmlns:a16="http://schemas.microsoft.com/office/drawing/2014/main" id="{0A54AE61-7E73-4D4B-8DCD-24B645371BEF}"/>
              </a:ext>
            </a:extLst>
          </p:cNvPr>
          <p:cNvSpPr/>
          <p:nvPr/>
        </p:nvSpPr>
        <p:spPr>
          <a:xfrm>
            <a:off x="6724341" y="2052497"/>
            <a:ext cx="4994498" cy="515241"/>
          </a:xfrm>
          <a:prstGeom prst="wedgeRectCallout">
            <a:avLst>
              <a:gd name="adj1" fmla="val -20833"/>
              <a:gd name="adj2" fmla="val 25141"/>
            </a:avLst>
          </a:prstGeom>
          <a:gradFill rotWithShape="1">
            <a:gsLst>
              <a:gs pos="0">
                <a:srgbClr val="10069F">
                  <a:satMod val="103000"/>
                  <a:lumMod val="102000"/>
                  <a:tint val="94000"/>
                </a:srgbClr>
              </a:gs>
              <a:gs pos="50000">
                <a:srgbClr val="10069F">
                  <a:satMod val="110000"/>
                  <a:lumMod val="100000"/>
                  <a:shade val="100000"/>
                </a:srgbClr>
              </a:gs>
              <a:gs pos="100000">
                <a:srgbClr val="10069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on Plan</a:t>
            </a:r>
          </a:p>
        </p:txBody>
      </p:sp>
      <p:sp>
        <p:nvSpPr>
          <p:cNvPr id="18" name="Rectangle 19">
            <a:extLst>
              <a:ext uri="{FF2B5EF4-FFF2-40B4-BE49-F238E27FC236}">
                <a16:creationId xmlns:a16="http://schemas.microsoft.com/office/drawing/2014/main" id="{A5A30943-F761-474A-A9B2-BB41271230A9}"/>
              </a:ext>
            </a:extLst>
          </p:cNvPr>
          <p:cNvSpPr/>
          <p:nvPr/>
        </p:nvSpPr>
        <p:spPr>
          <a:xfrm>
            <a:off x="6710448" y="2606927"/>
            <a:ext cx="4995690" cy="346499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lvl="0" indent="-285750" fontAlgn="base">
              <a:buFont typeface="Wingdings" panose="05000000000000000000" pitchFamily="2" charset="2"/>
              <a:buChar char="§"/>
            </a:pP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Buscar oportunidades para presentarme en los principales </a:t>
            </a: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foros de Supply Chain global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, ganar experiencia en este tipo de situaciones y ampliar la exposición con este público.</a:t>
            </a:r>
          </a:p>
          <a:p>
            <a:pPr marL="285750" lvl="0" indent="-285750" fontAlgn="base">
              <a:buFont typeface="Wingdings" panose="05000000000000000000" pitchFamily="2" charset="2"/>
              <a:buChar char="§"/>
            </a:pP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Continuar recibiendo apoyo de mi Gerente y Director para </a:t>
            </a: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gestionar proyectos 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que me permitan crecer profesionalmente.</a:t>
            </a:r>
          </a:p>
          <a:p>
            <a:pPr marL="285750" lvl="0" indent="-285750" fontAlgn="base">
              <a:buFont typeface="Wingdings" panose="05000000000000000000" pitchFamily="2" charset="2"/>
              <a:buChar char="§"/>
            </a:pP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Continuar estudiando</a:t>
            </a:r>
            <a:r>
              <a:rPr lang="es-AR" b="1" kern="0" dirty="0">
                <a:solidFill>
                  <a:srgbClr val="1755DF"/>
                </a:solidFill>
                <a:latin typeface="Arial" panose="020B0604020202020204"/>
              </a:rPr>
              <a:t> inglés, ampliando vocabulario técnico</a:t>
            </a:r>
            <a:r>
              <a:rPr lang="es-AR" kern="0" dirty="0">
                <a:solidFill>
                  <a:srgbClr val="292929"/>
                </a:solidFill>
                <a:latin typeface="Arial" panose="020B0604020202020204"/>
              </a:rPr>
              <a:t> y logrando más confianza y fluidez (clases para expandir mi vocabulario y ser más fluido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9" name="Flecha: a la derecha 11">
            <a:extLst>
              <a:ext uri="{FF2B5EF4-FFF2-40B4-BE49-F238E27FC236}">
                <a16:creationId xmlns:a16="http://schemas.microsoft.com/office/drawing/2014/main" id="{78C5D408-480C-4BFD-8375-48D67E2E5E18}"/>
              </a:ext>
            </a:extLst>
          </p:cNvPr>
          <p:cNvSpPr/>
          <p:nvPr/>
        </p:nvSpPr>
        <p:spPr>
          <a:xfrm>
            <a:off x="5590901" y="3909793"/>
            <a:ext cx="1023257" cy="1209223"/>
          </a:xfrm>
          <a:prstGeom prst="rightArrow">
            <a:avLst/>
          </a:prstGeom>
          <a:solidFill>
            <a:srgbClr val="10069F"/>
          </a:solidFill>
          <a:ln w="12700" cap="flat" cmpd="sng" algn="ctr">
            <a:solidFill>
              <a:srgbClr val="10069F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ángulo 1">
            <a:extLst>
              <a:ext uri="{FF2B5EF4-FFF2-40B4-BE49-F238E27FC236}">
                <a16:creationId xmlns:a16="http://schemas.microsoft.com/office/drawing/2014/main" id="{1B94DC88-4BC3-4031-8DF2-DA1786F27B12}"/>
              </a:ext>
            </a:extLst>
          </p:cNvPr>
          <p:cNvSpPr/>
          <p:nvPr/>
        </p:nvSpPr>
        <p:spPr>
          <a:xfrm>
            <a:off x="34845" y="43638"/>
            <a:ext cx="120378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es-AR" sz="4000" b="1" dirty="0">
                <a:solidFill>
                  <a:srgbClr val="10069F"/>
                </a:solidFill>
              </a:rPr>
              <a:t>Development and Action Plan</a:t>
            </a:r>
          </a:p>
        </p:txBody>
      </p:sp>
    </p:spTree>
    <p:extLst>
      <p:ext uri="{BB962C8B-B14F-4D97-AF65-F5344CB8AC3E}">
        <p14:creationId xmlns:p14="http://schemas.microsoft.com/office/powerpoint/2010/main" val="87928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Zs7PKrCzY_q4pepot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Zs7PKrCzY_q4pepotu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1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CDA1BA36C978448CBAF5272A4B9CB9" ma:contentTypeVersion="11" ma:contentTypeDescription="Create a new document." ma:contentTypeScope="" ma:versionID="6ccf7e533271224f70819b5ce00456bf">
  <xsd:schema xmlns:xsd="http://www.w3.org/2001/XMLSchema" xmlns:xs="http://www.w3.org/2001/XMLSchema" xmlns:p="http://schemas.microsoft.com/office/2006/metadata/properties" xmlns:ns3="680ad4f8-c4db-4cdc-a402-8b447bb6bdb9" xmlns:ns4="7b291b19-ab28-4952-9396-cba68d605430" targetNamespace="http://schemas.microsoft.com/office/2006/metadata/properties" ma:root="true" ma:fieldsID="bc24ac3f1420e60808a7d53d4376f356" ns3:_="" ns4:_="">
    <xsd:import namespace="680ad4f8-c4db-4cdc-a402-8b447bb6bdb9"/>
    <xsd:import namespace="7b291b19-ab28-4952-9396-cba68d60543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ad4f8-c4db-4cdc-a402-8b447bb6bd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291b19-ab28-4952-9396-cba68d60543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A72AF9B-78FF-476B-AA00-054E808236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ad4f8-c4db-4cdc-a402-8b447bb6bdb9"/>
    <ds:schemaRef ds:uri="7b291b19-ab28-4952-9396-cba68d6054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08AF00C-41AF-44F3-BCD0-32ED79CD64C4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7b291b19-ab28-4952-9396-cba68d605430"/>
    <ds:schemaRef ds:uri="http://purl.org/dc/terms/"/>
    <ds:schemaRef ds:uri="680ad4f8-c4db-4cdc-a402-8b447bb6bdb9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199F62E-A1CB-47E2-A7F4-1E91A99A6E4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528</TotalTime>
  <Words>777</Words>
  <Application>Microsoft Office PowerPoint</Application>
  <PresentationFormat>Widescreen</PresentationFormat>
  <Paragraphs>130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rial</vt:lpstr>
      <vt:lpstr>Calibri</vt:lpstr>
      <vt:lpstr>Calibri Light</vt:lpstr>
      <vt:lpstr>Fungo</vt:lpstr>
      <vt:lpstr>Gilroy ExtraBold</vt:lpstr>
      <vt:lpstr>Gilroy Light</vt:lpstr>
      <vt:lpstr>Gilroy-Medium</vt:lpstr>
      <vt:lpstr>Manus</vt:lpstr>
      <vt:lpstr>Wingdings</vt:lpstr>
      <vt:lpstr>20_Personalizar design</vt:lpstr>
      <vt:lpstr>9_Personalizar Design</vt:lpstr>
      <vt:lpstr>Tema de Office</vt:lpstr>
      <vt:lpstr>21_Personalizar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lark, Maria C</dc:creator>
  <cp:lastModifiedBy>Clark, Connie</cp:lastModifiedBy>
  <cp:revision>7</cp:revision>
  <dcterms:created xsi:type="dcterms:W3CDTF">2020-06-10T15:33:40Z</dcterms:created>
  <dcterms:modified xsi:type="dcterms:W3CDTF">2020-11-09T20:4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a425e9-ff5b-4164-ab21-177a29e6432d_Enabled">
    <vt:lpwstr>True</vt:lpwstr>
  </property>
  <property fmtid="{D5CDD505-2E9C-101B-9397-08002B2CF9AE}" pid="3" name="MSIP_Label_f3a425e9-ff5b-4164-ab21-177a29e6432d_SiteId">
    <vt:lpwstr>fee2180b-69b6-4afe-9f14-ccd70bd4c737</vt:lpwstr>
  </property>
  <property fmtid="{D5CDD505-2E9C-101B-9397-08002B2CF9AE}" pid="4" name="MSIP_Label_f3a425e9-ff5b-4164-ab21-177a29e6432d_Owner">
    <vt:lpwstr>Maria.C.Clark@kcc.com</vt:lpwstr>
  </property>
  <property fmtid="{D5CDD505-2E9C-101B-9397-08002B2CF9AE}" pid="5" name="MSIP_Label_f3a425e9-ff5b-4164-ab21-177a29e6432d_SetDate">
    <vt:lpwstr>2020-06-12T20:23:30.9926978Z</vt:lpwstr>
  </property>
  <property fmtid="{D5CDD505-2E9C-101B-9397-08002B2CF9AE}" pid="6" name="MSIP_Label_f3a425e9-ff5b-4164-ab21-177a29e6432d_Name">
    <vt:lpwstr>K-C Internal Only</vt:lpwstr>
  </property>
  <property fmtid="{D5CDD505-2E9C-101B-9397-08002B2CF9AE}" pid="7" name="MSIP_Label_f3a425e9-ff5b-4164-ab21-177a29e6432d_Application">
    <vt:lpwstr>Microsoft Azure Information Protection</vt:lpwstr>
  </property>
  <property fmtid="{D5CDD505-2E9C-101B-9397-08002B2CF9AE}" pid="8" name="MSIP_Label_f3a425e9-ff5b-4164-ab21-177a29e6432d_ActionId">
    <vt:lpwstr>66a5e610-7fc0-4c05-934d-cc3bda674ec1</vt:lpwstr>
  </property>
  <property fmtid="{D5CDD505-2E9C-101B-9397-08002B2CF9AE}" pid="9" name="MSIP_Label_f3a425e9-ff5b-4164-ab21-177a29e6432d_Extended_MSFT_Method">
    <vt:lpwstr>Manual</vt:lpwstr>
  </property>
  <property fmtid="{D5CDD505-2E9C-101B-9397-08002B2CF9AE}" pid="10" name="MSIP_Label_3f52e709-27cd-4bee-a620-278331e736b2_Enabled">
    <vt:lpwstr>True</vt:lpwstr>
  </property>
  <property fmtid="{D5CDD505-2E9C-101B-9397-08002B2CF9AE}" pid="11" name="MSIP_Label_3f52e709-27cd-4bee-a620-278331e736b2_SiteId">
    <vt:lpwstr>fee2180b-69b6-4afe-9f14-ccd70bd4c737</vt:lpwstr>
  </property>
  <property fmtid="{D5CDD505-2E9C-101B-9397-08002B2CF9AE}" pid="12" name="MSIP_Label_3f52e709-27cd-4bee-a620-278331e736b2_Owner">
    <vt:lpwstr>Maria.C.Clark@kcc.com</vt:lpwstr>
  </property>
  <property fmtid="{D5CDD505-2E9C-101B-9397-08002B2CF9AE}" pid="13" name="MSIP_Label_3f52e709-27cd-4bee-a620-278331e736b2_SetDate">
    <vt:lpwstr>2020-06-12T20:23:30.9926978Z</vt:lpwstr>
  </property>
  <property fmtid="{D5CDD505-2E9C-101B-9397-08002B2CF9AE}" pid="14" name="MSIP_Label_3f52e709-27cd-4bee-a620-278331e736b2_Name">
    <vt:lpwstr>Without Content Marking</vt:lpwstr>
  </property>
  <property fmtid="{D5CDD505-2E9C-101B-9397-08002B2CF9AE}" pid="15" name="MSIP_Label_3f52e709-27cd-4bee-a620-278331e736b2_Application">
    <vt:lpwstr>Microsoft Azure Information Protection</vt:lpwstr>
  </property>
  <property fmtid="{D5CDD505-2E9C-101B-9397-08002B2CF9AE}" pid="16" name="MSIP_Label_3f52e709-27cd-4bee-a620-278331e736b2_ActionId">
    <vt:lpwstr>66a5e610-7fc0-4c05-934d-cc3bda674ec1</vt:lpwstr>
  </property>
  <property fmtid="{D5CDD505-2E9C-101B-9397-08002B2CF9AE}" pid="17" name="MSIP_Label_3f52e709-27cd-4bee-a620-278331e736b2_Parent">
    <vt:lpwstr>f3a425e9-ff5b-4164-ab21-177a29e6432d</vt:lpwstr>
  </property>
  <property fmtid="{D5CDD505-2E9C-101B-9397-08002B2CF9AE}" pid="18" name="MSIP_Label_3f52e709-27cd-4bee-a620-278331e736b2_Extended_MSFT_Method">
    <vt:lpwstr>Manual</vt:lpwstr>
  </property>
  <property fmtid="{D5CDD505-2E9C-101B-9397-08002B2CF9AE}" pid="19" name="KCAutoClass">
    <vt:lpwstr>K-C Internal Only Without Content Marking</vt:lpwstr>
  </property>
  <property fmtid="{D5CDD505-2E9C-101B-9397-08002B2CF9AE}" pid="20" name="ContentTypeId">
    <vt:lpwstr>0x010100DFCDA1BA36C978448CBAF5272A4B9CB9</vt:lpwstr>
  </property>
</Properties>
</file>